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69" r:id="rId6"/>
    <p:sldId id="257" r:id="rId7"/>
    <p:sldId id="268" r:id="rId8"/>
    <p:sldId id="272" r:id="rId9"/>
    <p:sldId id="267" r:id="rId10"/>
    <p:sldId id="273" r:id="rId11"/>
    <p:sldId id="275" r:id="rId12"/>
    <p:sldId id="274" r:id="rId13"/>
    <p:sldId id="265" r:id="rId14"/>
    <p:sldId id="266" r:id="rId15"/>
    <p:sldId id="261" r:id="rId16"/>
    <p:sldId id="262" r:id="rId17"/>
    <p:sldId id="270" r:id="rId18"/>
    <p:sldId id="258" r:id="rId19"/>
    <p:sldId id="263" r:id="rId20"/>
    <p:sldId id="259" r:id="rId21"/>
    <p:sldId id="264" r:id="rId22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6A3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25EA0B-FDF1-4C78-8FA2-73C50A458F24}" v="210" dt="2020-11-01T22:15:44.027"/>
    <p1510:client id="{C4E40EE3-8BCA-4187-B526-6D881B93F9E5}" v="247" dt="2020-11-02T13:14:09.66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05" autoAdjust="0"/>
    <p:restoredTop sz="94660"/>
  </p:normalViewPr>
  <p:slideViewPr>
    <p:cSldViewPr snapToGrid="0">
      <p:cViewPr varScale="1">
        <p:scale>
          <a:sx n="79" d="100"/>
          <a:sy n="79" d="100"/>
        </p:scale>
        <p:origin x="96" y="8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ssaoudi, Damien (uid34375)" userId="4f89949d-5cea-46b7-a9d2-0e5d2d2bdbd6" providerId="ADAL" clId="{C4E40EE3-8BCA-4187-B526-6D881B93F9E5}"/>
    <pc:docChg chg="undo custSel addSld modSld">
      <pc:chgData name="Messaoudi, Damien (uid34375)" userId="4f89949d-5cea-46b7-a9d2-0e5d2d2bdbd6" providerId="ADAL" clId="{C4E40EE3-8BCA-4187-B526-6D881B93F9E5}" dt="2020-11-02T13:14:09.667" v="769" actId="207"/>
      <pc:docMkLst>
        <pc:docMk/>
      </pc:docMkLst>
      <pc:sldChg chg="addSp modSp">
        <pc:chgData name="Messaoudi, Damien (uid34375)" userId="4f89949d-5cea-46b7-a9d2-0e5d2d2bdbd6" providerId="ADAL" clId="{C4E40EE3-8BCA-4187-B526-6D881B93F9E5}" dt="2020-11-02T09:32:41.977" v="10" actId="14100"/>
        <pc:sldMkLst>
          <pc:docMk/>
          <pc:sldMk cId="1811667026" sldId="257"/>
        </pc:sldMkLst>
        <pc:spChg chg="mod">
          <ac:chgData name="Messaoudi, Damien (uid34375)" userId="4f89949d-5cea-46b7-a9d2-0e5d2d2bdbd6" providerId="ADAL" clId="{C4E40EE3-8BCA-4187-B526-6D881B93F9E5}" dt="2020-11-02T09:32:26.240" v="0" actId="1076"/>
          <ac:spMkLst>
            <pc:docMk/>
            <pc:sldMk cId="1811667026" sldId="257"/>
            <ac:spMk id="17" creationId="{F5F3C3D7-9ABE-4177-97D3-57A922AA680B}"/>
          </ac:spMkLst>
        </pc:spChg>
        <pc:spChg chg="mod">
          <ac:chgData name="Messaoudi, Damien (uid34375)" userId="4f89949d-5cea-46b7-a9d2-0e5d2d2bdbd6" providerId="ADAL" clId="{C4E40EE3-8BCA-4187-B526-6D881B93F9E5}" dt="2020-11-02T09:32:26.240" v="0" actId="1076"/>
          <ac:spMkLst>
            <pc:docMk/>
            <pc:sldMk cId="1811667026" sldId="257"/>
            <ac:spMk id="18" creationId="{3DD147D9-CF94-42F1-A6FD-B2C9001A1572}"/>
          </ac:spMkLst>
        </pc:spChg>
        <pc:spChg chg="mod">
          <ac:chgData name="Messaoudi, Damien (uid34375)" userId="4f89949d-5cea-46b7-a9d2-0e5d2d2bdbd6" providerId="ADAL" clId="{C4E40EE3-8BCA-4187-B526-6D881B93F9E5}" dt="2020-11-02T09:32:27.873" v="1" actId="1076"/>
          <ac:spMkLst>
            <pc:docMk/>
            <pc:sldMk cId="1811667026" sldId="257"/>
            <ac:spMk id="20" creationId="{77A03867-B9E3-4508-8969-624ADCBE14E4}"/>
          </ac:spMkLst>
        </pc:spChg>
        <pc:spChg chg="add mod">
          <ac:chgData name="Messaoudi, Damien (uid34375)" userId="4f89949d-5cea-46b7-a9d2-0e5d2d2bdbd6" providerId="ADAL" clId="{C4E40EE3-8BCA-4187-B526-6D881B93F9E5}" dt="2020-11-02T09:32:41.977" v="10" actId="14100"/>
          <ac:spMkLst>
            <pc:docMk/>
            <pc:sldMk cId="1811667026" sldId="257"/>
            <ac:spMk id="29" creationId="{27DD6B12-E847-493F-8E6E-9546A30A80AC}"/>
          </ac:spMkLst>
        </pc:spChg>
      </pc:sldChg>
      <pc:sldChg chg="modSp">
        <pc:chgData name="Messaoudi, Damien (uid34375)" userId="4f89949d-5cea-46b7-a9d2-0e5d2d2bdbd6" providerId="ADAL" clId="{C4E40EE3-8BCA-4187-B526-6D881B93F9E5}" dt="2020-11-02T13:00:53.901" v="202" actId="20577"/>
        <pc:sldMkLst>
          <pc:docMk/>
          <pc:sldMk cId="1748824945" sldId="262"/>
        </pc:sldMkLst>
        <pc:spChg chg="mod">
          <ac:chgData name="Messaoudi, Damien (uid34375)" userId="4f89949d-5cea-46b7-a9d2-0e5d2d2bdbd6" providerId="ADAL" clId="{C4E40EE3-8BCA-4187-B526-6D881B93F9E5}" dt="2020-11-02T13:00:53.901" v="202" actId="20577"/>
          <ac:spMkLst>
            <pc:docMk/>
            <pc:sldMk cId="1748824945" sldId="262"/>
            <ac:spMk id="7" creationId="{57B5E5F4-651B-49F4-B84A-F151C92174DD}"/>
          </ac:spMkLst>
        </pc:spChg>
      </pc:sldChg>
      <pc:sldChg chg="addSp delSp modSp add">
        <pc:chgData name="Messaoudi, Damien (uid34375)" userId="4f89949d-5cea-46b7-a9d2-0e5d2d2bdbd6" providerId="ADAL" clId="{C4E40EE3-8BCA-4187-B526-6D881B93F9E5}" dt="2020-11-02T13:09:54.270" v="603"/>
        <pc:sldMkLst>
          <pc:docMk/>
          <pc:sldMk cId="1256544040" sldId="267"/>
        </pc:sldMkLst>
        <pc:spChg chg="del">
          <ac:chgData name="Messaoudi, Damien (uid34375)" userId="4f89949d-5cea-46b7-a9d2-0e5d2d2bdbd6" providerId="ADAL" clId="{C4E40EE3-8BCA-4187-B526-6D881B93F9E5}" dt="2020-11-02T12:55:27.523" v="39" actId="478"/>
          <ac:spMkLst>
            <pc:docMk/>
            <pc:sldMk cId="1256544040" sldId="267"/>
            <ac:spMk id="2" creationId="{70FD2BDF-48C8-49FC-B8F1-30ED47FBDFDA}"/>
          </ac:spMkLst>
        </pc:spChg>
        <pc:spChg chg="mod ord">
          <ac:chgData name="Messaoudi, Damien (uid34375)" userId="4f89949d-5cea-46b7-a9d2-0e5d2d2bdbd6" providerId="ADAL" clId="{C4E40EE3-8BCA-4187-B526-6D881B93F9E5}" dt="2020-11-02T13:09:54.237" v="567"/>
          <ac:spMkLst>
            <pc:docMk/>
            <pc:sldMk cId="1256544040" sldId="267"/>
            <ac:spMk id="3" creationId="{F978A3C7-7FF8-42AD-A086-2B6EEF0BE6AC}"/>
          </ac:spMkLst>
        </pc:spChg>
        <pc:spChg chg="mod ord">
          <ac:chgData name="Messaoudi, Damien (uid34375)" userId="4f89949d-5cea-46b7-a9d2-0e5d2d2bdbd6" providerId="ADAL" clId="{C4E40EE3-8BCA-4187-B526-6D881B93F9E5}" dt="2020-11-02T13:09:54.239" v="569"/>
          <ac:spMkLst>
            <pc:docMk/>
            <pc:sldMk cId="1256544040" sldId="267"/>
            <ac:spMk id="4" creationId="{0ABE58BC-8CE9-4E6A-BC33-C4297FEBEF1B}"/>
          </ac:spMkLst>
        </pc:spChg>
        <pc:spChg chg="del">
          <ac:chgData name="Messaoudi, Damien (uid34375)" userId="4f89949d-5cea-46b7-a9d2-0e5d2d2bdbd6" providerId="ADAL" clId="{C4E40EE3-8BCA-4187-B526-6D881B93F9E5}" dt="2020-11-02T12:55:28.702" v="40" actId="478"/>
          <ac:spMkLst>
            <pc:docMk/>
            <pc:sldMk cId="1256544040" sldId="267"/>
            <ac:spMk id="5" creationId="{0632C146-D461-459E-BCF9-1A1653F9FA13}"/>
          </ac:spMkLst>
        </pc:spChg>
        <pc:spChg chg="add mod ord">
          <ac:chgData name="Messaoudi, Damien (uid34375)" userId="4f89949d-5cea-46b7-a9d2-0e5d2d2bdbd6" providerId="ADAL" clId="{C4E40EE3-8BCA-4187-B526-6D881B93F9E5}" dt="2020-11-02T13:09:54.241" v="571"/>
          <ac:spMkLst>
            <pc:docMk/>
            <pc:sldMk cId="1256544040" sldId="267"/>
            <ac:spMk id="7" creationId="{BA209772-981A-4BA1-8A41-F581F440AEEB}"/>
          </ac:spMkLst>
        </pc:spChg>
        <pc:spChg chg="add mod ord">
          <ac:chgData name="Messaoudi, Damien (uid34375)" userId="4f89949d-5cea-46b7-a9d2-0e5d2d2bdbd6" providerId="ADAL" clId="{C4E40EE3-8BCA-4187-B526-6D881B93F9E5}" dt="2020-11-02T13:09:54.242" v="573"/>
          <ac:spMkLst>
            <pc:docMk/>
            <pc:sldMk cId="1256544040" sldId="267"/>
            <ac:spMk id="8" creationId="{7AFBF1BD-D642-4CB6-A356-D458BC87D034}"/>
          </ac:spMkLst>
        </pc:spChg>
        <pc:spChg chg="add mod ord">
          <ac:chgData name="Messaoudi, Damien (uid34375)" userId="4f89949d-5cea-46b7-a9d2-0e5d2d2bdbd6" providerId="ADAL" clId="{C4E40EE3-8BCA-4187-B526-6D881B93F9E5}" dt="2020-11-02T13:09:54.244" v="575"/>
          <ac:spMkLst>
            <pc:docMk/>
            <pc:sldMk cId="1256544040" sldId="267"/>
            <ac:spMk id="9" creationId="{8C665125-B724-452D-8876-3DCF98254D85}"/>
          </ac:spMkLst>
        </pc:spChg>
        <pc:spChg chg="add del mod ord">
          <ac:chgData name="Messaoudi, Damien (uid34375)" userId="4f89949d-5cea-46b7-a9d2-0e5d2d2bdbd6" providerId="ADAL" clId="{C4E40EE3-8BCA-4187-B526-6D881B93F9E5}" dt="2020-11-02T13:00:26.715" v="198" actId="478"/>
          <ac:spMkLst>
            <pc:docMk/>
            <pc:sldMk cId="1256544040" sldId="267"/>
            <ac:spMk id="10" creationId="{FD02D5D3-3350-4E01-B5D5-EF13BE1EB872}"/>
          </ac:spMkLst>
        </pc:spChg>
        <pc:spChg chg="add mod ord">
          <ac:chgData name="Messaoudi, Damien (uid34375)" userId="4f89949d-5cea-46b7-a9d2-0e5d2d2bdbd6" providerId="ADAL" clId="{C4E40EE3-8BCA-4187-B526-6D881B93F9E5}" dt="2020-11-02T13:09:54.261" v="595"/>
          <ac:spMkLst>
            <pc:docMk/>
            <pc:sldMk cId="1256544040" sldId="267"/>
            <ac:spMk id="25" creationId="{7197028B-E136-402B-9263-8AC88C9B5A1A}"/>
          </ac:spMkLst>
        </pc:spChg>
        <pc:spChg chg="add mod">
          <ac:chgData name="Messaoudi, Damien (uid34375)" userId="4f89949d-5cea-46b7-a9d2-0e5d2d2bdbd6" providerId="ADAL" clId="{C4E40EE3-8BCA-4187-B526-6D881B93F9E5}" dt="2020-11-02T13:03:35.883" v="296" actId="164"/>
          <ac:spMkLst>
            <pc:docMk/>
            <pc:sldMk cId="1256544040" sldId="267"/>
            <ac:spMk id="33" creationId="{C901504E-30AC-4880-B5B4-ADB2558C4305}"/>
          </ac:spMkLst>
        </pc:spChg>
        <pc:spChg chg="add mod">
          <ac:chgData name="Messaoudi, Damien (uid34375)" userId="4f89949d-5cea-46b7-a9d2-0e5d2d2bdbd6" providerId="ADAL" clId="{C4E40EE3-8BCA-4187-B526-6D881B93F9E5}" dt="2020-11-02T13:03:35.883" v="296" actId="164"/>
          <ac:spMkLst>
            <pc:docMk/>
            <pc:sldMk cId="1256544040" sldId="267"/>
            <ac:spMk id="34" creationId="{5FFAFB95-6FC4-4AFA-9CF4-26FD09BEE662}"/>
          </ac:spMkLst>
        </pc:spChg>
        <pc:spChg chg="add mod ord">
          <ac:chgData name="Messaoudi, Damien (uid34375)" userId="4f89949d-5cea-46b7-a9d2-0e5d2d2bdbd6" providerId="ADAL" clId="{C4E40EE3-8BCA-4187-B526-6D881B93F9E5}" dt="2020-11-02T13:09:54.262" v="597"/>
          <ac:spMkLst>
            <pc:docMk/>
            <pc:sldMk cId="1256544040" sldId="267"/>
            <ac:spMk id="36" creationId="{93F8E2E4-7A01-4D8E-A3F7-5FA287A5F1BE}"/>
          </ac:spMkLst>
        </pc:spChg>
        <pc:spChg chg="add mod ord">
          <ac:chgData name="Messaoudi, Damien (uid34375)" userId="4f89949d-5cea-46b7-a9d2-0e5d2d2bdbd6" providerId="ADAL" clId="{C4E40EE3-8BCA-4187-B526-6D881B93F9E5}" dt="2020-11-02T13:09:54.264" v="599"/>
          <ac:spMkLst>
            <pc:docMk/>
            <pc:sldMk cId="1256544040" sldId="267"/>
            <ac:spMk id="37" creationId="{9460CAA9-CF24-41F0-A94C-EB9893201F1C}"/>
          </ac:spMkLst>
        </pc:spChg>
        <pc:spChg chg="add mod ord">
          <ac:chgData name="Messaoudi, Damien (uid34375)" userId="4f89949d-5cea-46b7-a9d2-0e5d2d2bdbd6" providerId="ADAL" clId="{C4E40EE3-8BCA-4187-B526-6D881B93F9E5}" dt="2020-11-02T13:09:54.265" v="601"/>
          <ac:spMkLst>
            <pc:docMk/>
            <pc:sldMk cId="1256544040" sldId="267"/>
            <ac:spMk id="38" creationId="{798B538A-5A12-4468-B565-C09F06C8745D}"/>
          </ac:spMkLst>
        </pc:spChg>
        <pc:grpChg chg="add mod ord">
          <ac:chgData name="Messaoudi, Damien (uid34375)" userId="4f89949d-5cea-46b7-a9d2-0e5d2d2bdbd6" providerId="ADAL" clId="{C4E40EE3-8BCA-4187-B526-6D881B93F9E5}" dt="2020-11-02T13:09:54.246" v="577"/>
          <ac:grpSpMkLst>
            <pc:docMk/>
            <pc:sldMk cId="1256544040" sldId="267"/>
            <ac:grpSpMk id="35" creationId="{5BF7B9F8-6009-419B-BF89-3AF299D13B95}"/>
          </ac:grpSpMkLst>
        </pc:grpChg>
        <pc:graphicFrameChg chg="add mod ord modVis">
          <ac:chgData name="Messaoudi, Damien (uid34375)" userId="4f89949d-5cea-46b7-a9d2-0e5d2d2bdbd6" providerId="ADAL" clId="{C4E40EE3-8BCA-4187-B526-6D881B93F9E5}" dt="2020-11-02T13:09:54.270" v="603"/>
          <ac:graphicFrameMkLst>
            <pc:docMk/>
            <pc:sldMk cId="1256544040" sldId="267"/>
            <ac:graphicFrameMk id="6" creationId="{6877B1A1-1A1A-4C0E-A88F-8C76E5ADCA57}"/>
          </ac:graphicFrameMkLst>
        </pc:graphicFrameChg>
        <pc:cxnChg chg="add del mod">
          <ac:chgData name="Messaoudi, Damien (uid34375)" userId="4f89949d-5cea-46b7-a9d2-0e5d2d2bdbd6" providerId="ADAL" clId="{C4E40EE3-8BCA-4187-B526-6D881B93F9E5}" dt="2020-11-02T12:57:13.249" v="108" actId="11529"/>
          <ac:cxnSpMkLst>
            <pc:docMk/>
            <pc:sldMk cId="1256544040" sldId="267"/>
            <ac:cxnSpMk id="12" creationId="{85DE4FD3-15A1-4888-9CB5-27FC007A547B}"/>
          </ac:cxnSpMkLst>
        </pc:cxnChg>
        <pc:cxnChg chg="add del mod">
          <ac:chgData name="Messaoudi, Damien (uid34375)" userId="4f89949d-5cea-46b7-a9d2-0e5d2d2bdbd6" providerId="ADAL" clId="{C4E40EE3-8BCA-4187-B526-6D881B93F9E5}" dt="2020-11-02T12:57:33.009" v="115" actId="478"/>
          <ac:cxnSpMkLst>
            <pc:docMk/>
            <pc:sldMk cId="1256544040" sldId="267"/>
            <ac:cxnSpMk id="14" creationId="{4C5106B4-ADFD-47D3-B6BE-756C590509B4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30" v="559"/>
          <ac:cxnSpMkLst>
            <pc:docMk/>
            <pc:sldMk cId="1256544040" sldId="267"/>
            <ac:cxnSpMk id="16" creationId="{2CC3F919-0BEA-40E8-86DC-E0EF8D096A71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32" v="561"/>
          <ac:cxnSpMkLst>
            <pc:docMk/>
            <pc:sldMk cId="1256544040" sldId="267"/>
            <ac:cxnSpMk id="17" creationId="{DC47EFA0-B5F2-422A-BFE7-61205F2583A9}"/>
          </ac:cxnSpMkLst>
        </pc:cxnChg>
        <pc:cxnChg chg="add del mod ord">
          <ac:chgData name="Messaoudi, Damien (uid34375)" userId="4f89949d-5cea-46b7-a9d2-0e5d2d2bdbd6" providerId="ADAL" clId="{C4E40EE3-8BCA-4187-B526-6D881B93F9E5}" dt="2020-11-02T12:58:24.113" v="150" actId="478"/>
          <ac:cxnSpMkLst>
            <pc:docMk/>
            <pc:sldMk cId="1256544040" sldId="267"/>
            <ac:cxnSpMk id="18" creationId="{D5CBA728-4ED5-4685-AD42-0EC969337388}"/>
          </ac:cxnSpMkLst>
        </pc:cxnChg>
        <pc:cxnChg chg="add del mod ord">
          <ac:chgData name="Messaoudi, Damien (uid34375)" userId="4f89949d-5cea-46b7-a9d2-0e5d2d2bdbd6" providerId="ADAL" clId="{C4E40EE3-8BCA-4187-B526-6D881B93F9E5}" dt="2020-11-02T12:58:24.940" v="151" actId="478"/>
          <ac:cxnSpMkLst>
            <pc:docMk/>
            <pc:sldMk cId="1256544040" sldId="267"/>
            <ac:cxnSpMk id="19" creationId="{F901FFF3-0567-4A34-81CB-2FEF9A95F4DA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35" v="563"/>
          <ac:cxnSpMkLst>
            <pc:docMk/>
            <pc:sldMk cId="1256544040" sldId="267"/>
            <ac:cxnSpMk id="21" creationId="{C458AC85-D697-4113-98B5-4037F08C6095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36" v="565"/>
          <ac:cxnSpMkLst>
            <pc:docMk/>
            <pc:sldMk cId="1256544040" sldId="267"/>
            <ac:cxnSpMk id="23" creationId="{F2519A59-6F5E-4B70-9523-85F818AE29BC}"/>
          </ac:cxnSpMkLst>
        </pc:cxnChg>
        <pc:cxnChg chg="add del mod">
          <ac:chgData name="Messaoudi, Damien (uid34375)" userId="4f89949d-5cea-46b7-a9d2-0e5d2d2bdbd6" providerId="ADAL" clId="{C4E40EE3-8BCA-4187-B526-6D881B93F9E5}" dt="2020-11-02T13:06:17.238" v="309" actId="11529"/>
          <ac:cxnSpMkLst>
            <pc:docMk/>
            <pc:sldMk cId="1256544040" sldId="267"/>
            <ac:cxnSpMk id="40" creationId="{E4B04DAA-67E8-4DD7-90F6-D5581F7DADBB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27" v="555"/>
          <ac:cxnSpMkLst>
            <pc:docMk/>
            <pc:sldMk cId="1256544040" sldId="267"/>
            <ac:cxnSpMk id="42" creationId="{7EE3E603-1C4F-4115-B51C-9331508A3212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29" v="557"/>
          <ac:cxnSpMkLst>
            <pc:docMk/>
            <pc:sldMk cId="1256544040" sldId="267"/>
            <ac:cxnSpMk id="43" creationId="{4F5E1B8B-0226-43FC-9195-BF4F80146643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48" v="579"/>
          <ac:cxnSpMkLst>
            <pc:docMk/>
            <pc:sldMk cId="1256544040" sldId="267"/>
            <ac:cxnSpMk id="44" creationId="{B7FD2E53-4691-4013-993B-3BBA015751DA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50" v="581"/>
          <ac:cxnSpMkLst>
            <pc:docMk/>
            <pc:sldMk cId="1256544040" sldId="267"/>
            <ac:cxnSpMk id="46" creationId="{0C36DCE1-F557-44BB-84EB-06A2298FF0B0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52" v="583"/>
          <ac:cxnSpMkLst>
            <pc:docMk/>
            <pc:sldMk cId="1256544040" sldId="267"/>
            <ac:cxnSpMk id="47" creationId="{9B7C1C65-2605-4563-9F58-700B9C7AE1BA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53" v="585"/>
          <ac:cxnSpMkLst>
            <pc:docMk/>
            <pc:sldMk cId="1256544040" sldId="267"/>
            <ac:cxnSpMk id="48" creationId="{7C8B6A5B-4712-4079-B012-760B43129A0C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54" v="587"/>
          <ac:cxnSpMkLst>
            <pc:docMk/>
            <pc:sldMk cId="1256544040" sldId="267"/>
            <ac:cxnSpMk id="49" creationId="{08C7D04A-8ACD-4330-B74A-BC5086088735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56" v="589"/>
          <ac:cxnSpMkLst>
            <pc:docMk/>
            <pc:sldMk cId="1256544040" sldId="267"/>
            <ac:cxnSpMk id="50" creationId="{976ECE2D-612E-4F11-984C-09634ADC6B1E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58" v="591"/>
          <ac:cxnSpMkLst>
            <pc:docMk/>
            <pc:sldMk cId="1256544040" sldId="267"/>
            <ac:cxnSpMk id="51" creationId="{B9E02E30-9835-496B-BF84-33EFD7986AEA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59" v="593"/>
          <ac:cxnSpMkLst>
            <pc:docMk/>
            <pc:sldMk cId="1256544040" sldId="267"/>
            <ac:cxnSpMk id="52" creationId="{1591BB21-0AD2-477F-8C0E-112FB499B00A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05.977" v="536"/>
          <ac:cxnSpMkLst>
            <pc:docMk/>
            <pc:sldMk cId="1256544040" sldId="267"/>
            <ac:cxnSpMk id="53" creationId="{54C9768C-8EA8-4B50-B857-502B017832EC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05.977" v="536"/>
          <ac:cxnSpMkLst>
            <pc:docMk/>
            <pc:sldMk cId="1256544040" sldId="267"/>
            <ac:cxnSpMk id="54" creationId="{984702FF-6E08-4DC9-9441-F23F41BD9871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05.977" v="536"/>
          <ac:cxnSpMkLst>
            <pc:docMk/>
            <pc:sldMk cId="1256544040" sldId="267"/>
            <ac:cxnSpMk id="55" creationId="{F99399AD-57B0-46AA-B360-39D086F16678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05.977" v="536"/>
          <ac:cxnSpMkLst>
            <pc:docMk/>
            <pc:sldMk cId="1256544040" sldId="267"/>
            <ac:cxnSpMk id="56" creationId="{719FCC5A-17C6-4198-B93C-5FF993B37CFC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05.977" v="536"/>
          <ac:cxnSpMkLst>
            <pc:docMk/>
            <pc:sldMk cId="1256544040" sldId="267"/>
            <ac:cxnSpMk id="57" creationId="{47EDC884-0DC7-400D-A996-5F6CB3DA43A4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05.977" v="536"/>
          <ac:cxnSpMkLst>
            <pc:docMk/>
            <pc:sldMk cId="1256544040" sldId="267"/>
            <ac:cxnSpMk id="58" creationId="{A1AF6FCE-1D11-49FF-A43F-BFF38EF02E7D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20" v="547"/>
          <ac:cxnSpMkLst>
            <pc:docMk/>
            <pc:sldMk cId="1256544040" sldId="267"/>
            <ac:cxnSpMk id="59" creationId="{BC358090-3C8E-40CA-90B4-33766AB45E52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22" v="549"/>
          <ac:cxnSpMkLst>
            <pc:docMk/>
            <pc:sldMk cId="1256544040" sldId="267"/>
            <ac:cxnSpMk id="60" creationId="{C834FBED-B129-4D06-A045-7C5A6CED75CB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24" v="551"/>
          <ac:cxnSpMkLst>
            <pc:docMk/>
            <pc:sldMk cId="1256544040" sldId="267"/>
            <ac:cxnSpMk id="61" creationId="{109FAADB-2847-4F0C-B2BC-4191E91DF3CD}"/>
          </ac:cxnSpMkLst>
        </pc:cxnChg>
        <pc:cxnChg chg="add mod ord">
          <ac:chgData name="Messaoudi, Damien (uid34375)" userId="4f89949d-5cea-46b7-a9d2-0e5d2d2bdbd6" providerId="ADAL" clId="{C4E40EE3-8BCA-4187-B526-6D881B93F9E5}" dt="2020-11-02T13:09:54.226" v="553"/>
          <ac:cxnSpMkLst>
            <pc:docMk/>
            <pc:sldMk cId="1256544040" sldId="267"/>
            <ac:cxnSpMk id="62" creationId="{C5BCC5BD-34C5-48E8-88A7-6C82B4393506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14.831" v="539" actId="478"/>
          <ac:cxnSpMkLst>
            <pc:docMk/>
            <pc:sldMk cId="1256544040" sldId="267"/>
            <ac:cxnSpMk id="63" creationId="{D90385F1-0B8F-4ACA-8829-26FC23950569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14.831" v="539" actId="478"/>
          <ac:cxnSpMkLst>
            <pc:docMk/>
            <pc:sldMk cId="1256544040" sldId="267"/>
            <ac:cxnSpMk id="64" creationId="{3BF9A78D-355E-4BAA-93CB-5EA9642AF5C5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14.831" v="539" actId="478"/>
          <ac:cxnSpMkLst>
            <pc:docMk/>
            <pc:sldMk cId="1256544040" sldId="267"/>
            <ac:cxnSpMk id="65" creationId="{CFC6B851-339A-49B0-BE1C-28795AE52A4A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14.831" v="539" actId="478"/>
          <ac:cxnSpMkLst>
            <pc:docMk/>
            <pc:sldMk cId="1256544040" sldId="267"/>
            <ac:cxnSpMk id="66" creationId="{77975E8B-34BA-4008-95BC-D8CCF681A2B3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14.831" v="539" actId="478"/>
          <ac:cxnSpMkLst>
            <pc:docMk/>
            <pc:sldMk cId="1256544040" sldId="267"/>
            <ac:cxnSpMk id="67" creationId="{111B5A33-90CF-44B1-9DC8-EC1F9582A28F}"/>
          </ac:cxnSpMkLst>
        </pc:cxnChg>
        <pc:cxnChg chg="add del mod">
          <ac:chgData name="Messaoudi, Damien (uid34375)" userId="4f89949d-5cea-46b7-a9d2-0e5d2d2bdbd6" providerId="ADAL" clId="{C4E40EE3-8BCA-4187-B526-6D881B93F9E5}" dt="2020-11-02T13:09:14.831" v="539" actId="478"/>
          <ac:cxnSpMkLst>
            <pc:docMk/>
            <pc:sldMk cId="1256544040" sldId="267"/>
            <ac:cxnSpMk id="68" creationId="{A06A26F2-F808-4A2E-A11A-E8F7F2215551}"/>
          </ac:cxnSpMkLst>
        </pc:cxnChg>
      </pc:sldChg>
      <pc:sldChg chg="addSp delSp modSp add">
        <pc:chgData name="Messaoudi, Damien (uid34375)" userId="4f89949d-5cea-46b7-a9d2-0e5d2d2bdbd6" providerId="ADAL" clId="{C4E40EE3-8BCA-4187-B526-6D881B93F9E5}" dt="2020-11-02T13:14:09.667" v="769" actId="207"/>
        <pc:sldMkLst>
          <pc:docMk/>
          <pc:sldMk cId="3759160042" sldId="268"/>
        </pc:sldMkLst>
        <pc:spChg chg="add del mod">
          <ac:chgData name="Messaoudi, Damien (uid34375)" userId="4f89949d-5cea-46b7-a9d2-0e5d2d2bdbd6" providerId="ADAL" clId="{C4E40EE3-8BCA-4187-B526-6D881B93F9E5}" dt="2020-11-02T13:10:22.022" v="607" actId="478"/>
          <ac:spMkLst>
            <pc:docMk/>
            <pc:sldMk cId="3759160042" sldId="268"/>
            <ac:spMk id="4" creationId="{16A0075D-5E74-4FCD-AF8B-833E2F1B563F}"/>
          </ac:spMkLst>
        </pc:spChg>
        <pc:spChg chg="add del mod">
          <ac:chgData name="Messaoudi, Damien (uid34375)" userId="4f89949d-5cea-46b7-a9d2-0e5d2d2bdbd6" providerId="ADAL" clId="{C4E40EE3-8BCA-4187-B526-6D881B93F9E5}" dt="2020-11-02T13:10:25.882" v="609" actId="478"/>
          <ac:spMkLst>
            <pc:docMk/>
            <pc:sldMk cId="3759160042" sldId="268"/>
            <ac:spMk id="6" creationId="{B5075C06-C3F2-499A-BD84-3E7A91DFE9E1}"/>
          </ac:spMkLst>
        </pc:spChg>
        <pc:spChg chg="del">
          <ac:chgData name="Messaoudi, Damien (uid34375)" userId="4f89949d-5cea-46b7-a9d2-0e5d2d2bdbd6" providerId="ADAL" clId="{C4E40EE3-8BCA-4187-B526-6D881B93F9E5}" dt="2020-11-02T13:10:19.945" v="606" actId="478"/>
          <ac:spMkLst>
            <pc:docMk/>
            <pc:sldMk cId="3759160042" sldId="268"/>
            <ac:spMk id="9" creationId="{CB39F9DE-72C3-4D6D-A1B4-039344F4F59A}"/>
          </ac:spMkLst>
        </pc:spChg>
        <pc:spChg chg="del">
          <ac:chgData name="Messaoudi, Damien (uid34375)" userId="4f89949d-5cea-46b7-a9d2-0e5d2d2bdbd6" providerId="ADAL" clId="{C4E40EE3-8BCA-4187-B526-6D881B93F9E5}" dt="2020-11-02T13:10:24.657" v="608" actId="478"/>
          <ac:spMkLst>
            <pc:docMk/>
            <pc:sldMk cId="3759160042" sldId="268"/>
            <ac:spMk id="11" creationId="{A0EBAE8B-F231-4956-9D49-BFB7646C025C}"/>
          </ac:spMkLst>
        </pc:spChg>
        <pc:spChg chg="del">
          <ac:chgData name="Messaoudi, Damien (uid34375)" userId="4f89949d-5cea-46b7-a9d2-0e5d2d2bdbd6" providerId="ADAL" clId="{C4E40EE3-8BCA-4187-B526-6D881B93F9E5}" dt="2020-11-02T13:10:15.097" v="605" actId="478"/>
          <ac:spMkLst>
            <pc:docMk/>
            <pc:sldMk cId="3759160042" sldId="268"/>
            <ac:spMk id="12" creationId="{F1D41B6E-5907-493E-8772-E9F0E99D76BA}"/>
          </ac:spMkLst>
        </pc:spChg>
        <pc:spChg chg="del">
          <ac:chgData name="Messaoudi, Damien (uid34375)" userId="4f89949d-5cea-46b7-a9d2-0e5d2d2bdbd6" providerId="ADAL" clId="{C4E40EE3-8BCA-4187-B526-6D881B93F9E5}" dt="2020-11-02T13:10:15.097" v="605" actId="478"/>
          <ac:spMkLst>
            <pc:docMk/>
            <pc:sldMk cId="3759160042" sldId="268"/>
            <ac:spMk id="13" creationId="{544424D8-4EDD-42E6-B693-01B8E15412E8}"/>
          </ac:spMkLst>
        </pc:spChg>
        <pc:spChg chg="mod topLvl">
          <ac:chgData name="Messaoudi, Damien (uid34375)" userId="4f89949d-5cea-46b7-a9d2-0e5d2d2bdbd6" providerId="ADAL" clId="{C4E40EE3-8BCA-4187-B526-6D881B93F9E5}" dt="2020-11-02T13:14:09.667" v="769" actId="207"/>
          <ac:spMkLst>
            <pc:docMk/>
            <pc:sldMk cId="3759160042" sldId="268"/>
            <ac:spMk id="14" creationId="{50A441C9-3CE9-4A0C-AEE9-F4B5511CE012}"/>
          </ac:spMkLst>
        </pc:spChg>
        <pc:spChg chg="del">
          <ac:chgData name="Messaoudi, Damien (uid34375)" userId="4f89949d-5cea-46b7-a9d2-0e5d2d2bdbd6" providerId="ADAL" clId="{C4E40EE3-8BCA-4187-B526-6D881B93F9E5}" dt="2020-11-02T13:10:15.097" v="605" actId="478"/>
          <ac:spMkLst>
            <pc:docMk/>
            <pc:sldMk cId="3759160042" sldId="268"/>
            <ac:spMk id="15" creationId="{D99DD33B-4560-4CD7-84B5-0FAC11EAD834}"/>
          </ac:spMkLst>
        </pc:spChg>
        <pc:spChg chg="mod topLvl">
          <ac:chgData name="Messaoudi, Damien (uid34375)" userId="4f89949d-5cea-46b7-a9d2-0e5d2d2bdbd6" providerId="ADAL" clId="{C4E40EE3-8BCA-4187-B526-6D881B93F9E5}" dt="2020-11-02T13:10:42.204" v="614" actId="165"/>
          <ac:spMkLst>
            <pc:docMk/>
            <pc:sldMk cId="3759160042" sldId="268"/>
            <ac:spMk id="16" creationId="{5AFBFEE2-D1E8-43BC-B303-D41F10C97E68}"/>
          </ac:spMkLst>
        </pc:spChg>
        <pc:spChg chg="mod topLvl">
          <ac:chgData name="Messaoudi, Damien (uid34375)" userId="4f89949d-5cea-46b7-a9d2-0e5d2d2bdbd6" providerId="ADAL" clId="{C4E40EE3-8BCA-4187-B526-6D881B93F9E5}" dt="2020-11-02T13:10:42.204" v="614" actId="165"/>
          <ac:spMkLst>
            <pc:docMk/>
            <pc:sldMk cId="3759160042" sldId="268"/>
            <ac:spMk id="17" creationId="{F5F3C3D7-9ABE-4177-97D3-57A922AA680B}"/>
          </ac:spMkLst>
        </pc:spChg>
        <pc:spChg chg="mod topLvl">
          <ac:chgData name="Messaoudi, Damien (uid34375)" userId="4f89949d-5cea-46b7-a9d2-0e5d2d2bdbd6" providerId="ADAL" clId="{C4E40EE3-8BCA-4187-B526-6D881B93F9E5}" dt="2020-11-02T13:10:42.204" v="614" actId="165"/>
          <ac:spMkLst>
            <pc:docMk/>
            <pc:sldMk cId="3759160042" sldId="268"/>
            <ac:spMk id="18" creationId="{3DD147D9-CF94-42F1-A6FD-B2C9001A1572}"/>
          </ac:spMkLst>
        </pc:spChg>
        <pc:spChg chg="mod topLvl">
          <ac:chgData name="Messaoudi, Damien (uid34375)" userId="4f89949d-5cea-46b7-a9d2-0e5d2d2bdbd6" providerId="ADAL" clId="{C4E40EE3-8BCA-4187-B526-6D881B93F9E5}" dt="2020-11-02T13:10:42.204" v="614" actId="165"/>
          <ac:spMkLst>
            <pc:docMk/>
            <pc:sldMk cId="3759160042" sldId="268"/>
            <ac:spMk id="19" creationId="{F09600F5-4F3C-40C7-8C44-E9B7BD090C81}"/>
          </ac:spMkLst>
        </pc:spChg>
        <pc:spChg chg="mod topLvl">
          <ac:chgData name="Messaoudi, Damien (uid34375)" userId="4f89949d-5cea-46b7-a9d2-0e5d2d2bdbd6" providerId="ADAL" clId="{C4E40EE3-8BCA-4187-B526-6D881B93F9E5}" dt="2020-11-02T13:10:42.204" v="614" actId="165"/>
          <ac:spMkLst>
            <pc:docMk/>
            <pc:sldMk cId="3759160042" sldId="268"/>
            <ac:spMk id="20" creationId="{77A03867-B9E3-4508-8969-624ADCBE14E4}"/>
          </ac:spMkLst>
        </pc:spChg>
        <pc:spChg chg="mod topLvl">
          <ac:chgData name="Messaoudi, Damien (uid34375)" userId="4f89949d-5cea-46b7-a9d2-0e5d2d2bdbd6" providerId="ADAL" clId="{C4E40EE3-8BCA-4187-B526-6D881B93F9E5}" dt="2020-11-02T13:13:02.122" v="666" actId="1076"/>
          <ac:spMkLst>
            <pc:docMk/>
            <pc:sldMk cId="3759160042" sldId="268"/>
            <ac:spMk id="21" creationId="{0FDA046C-9E65-4FFE-8C1B-B15F12DBC2A2}"/>
          </ac:spMkLst>
        </pc:spChg>
        <pc:spChg chg="mod topLvl">
          <ac:chgData name="Messaoudi, Damien (uid34375)" userId="4f89949d-5cea-46b7-a9d2-0e5d2d2bdbd6" providerId="ADAL" clId="{C4E40EE3-8BCA-4187-B526-6D881B93F9E5}" dt="2020-11-02T13:12:40.085" v="657" actId="14100"/>
          <ac:spMkLst>
            <pc:docMk/>
            <pc:sldMk cId="3759160042" sldId="268"/>
            <ac:spMk id="22" creationId="{269F9E0D-660B-4F9E-A53E-23347593B9E5}"/>
          </ac:spMkLst>
        </pc:spChg>
        <pc:spChg chg="mod topLvl">
          <ac:chgData name="Messaoudi, Damien (uid34375)" userId="4f89949d-5cea-46b7-a9d2-0e5d2d2bdbd6" providerId="ADAL" clId="{C4E40EE3-8BCA-4187-B526-6D881B93F9E5}" dt="2020-11-02T13:10:42.204" v="614" actId="165"/>
          <ac:spMkLst>
            <pc:docMk/>
            <pc:sldMk cId="3759160042" sldId="268"/>
            <ac:spMk id="23" creationId="{69829BAD-AE2B-452E-9850-6108E068FDCD}"/>
          </ac:spMkLst>
        </pc:spChg>
        <pc:spChg chg="mod topLvl">
          <ac:chgData name="Messaoudi, Damien (uid34375)" userId="4f89949d-5cea-46b7-a9d2-0e5d2d2bdbd6" providerId="ADAL" clId="{C4E40EE3-8BCA-4187-B526-6D881B93F9E5}" dt="2020-11-02T13:10:42.204" v="614" actId="165"/>
          <ac:spMkLst>
            <pc:docMk/>
            <pc:sldMk cId="3759160042" sldId="268"/>
            <ac:spMk id="24" creationId="{91179B7D-9EC4-4017-BBDA-83FEE27DE9D8}"/>
          </ac:spMkLst>
        </pc:spChg>
        <pc:spChg chg="mod topLvl">
          <ac:chgData name="Messaoudi, Damien (uid34375)" userId="4f89949d-5cea-46b7-a9d2-0e5d2d2bdbd6" providerId="ADAL" clId="{C4E40EE3-8BCA-4187-B526-6D881B93F9E5}" dt="2020-11-02T13:10:42.204" v="614" actId="165"/>
          <ac:spMkLst>
            <pc:docMk/>
            <pc:sldMk cId="3759160042" sldId="268"/>
            <ac:spMk id="25" creationId="{67253F55-9A3F-43D7-8F62-9EDABC9897C4}"/>
          </ac:spMkLst>
        </pc:spChg>
        <pc:spChg chg="mod topLvl">
          <ac:chgData name="Messaoudi, Damien (uid34375)" userId="4f89949d-5cea-46b7-a9d2-0e5d2d2bdbd6" providerId="ADAL" clId="{C4E40EE3-8BCA-4187-B526-6D881B93F9E5}" dt="2020-11-02T13:10:54.205" v="619" actId="1076"/>
          <ac:spMkLst>
            <pc:docMk/>
            <pc:sldMk cId="3759160042" sldId="268"/>
            <ac:spMk id="26" creationId="{343E1FB7-E85E-4472-943A-35E83E122C4B}"/>
          </ac:spMkLst>
        </pc:spChg>
        <pc:spChg chg="mod topLvl">
          <ac:chgData name="Messaoudi, Damien (uid34375)" userId="4f89949d-5cea-46b7-a9d2-0e5d2d2bdbd6" providerId="ADAL" clId="{C4E40EE3-8BCA-4187-B526-6D881B93F9E5}" dt="2020-11-02T13:12:48.401" v="660" actId="1076"/>
          <ac:spMkLst>
            <pc:docMk/>
            <pc:sldMk cId="3759160042" sldId="268"/>
            <ac:spMk id="27" creationId="{A5EC9FF6-5C03-461E-A623-0A30C6B97C48}"/>
          </ac:spMkLst>
        </pc:spChg>
        <pc:spChg chg="mod topLvl">
          <ac:chgData name="Messaoudi, Damien (uid34375)" userId="4f89949d-5cea-46b7-a9d2-0e5d2d2bdbd6" providerId="ADAL" clId="{C4E40EE3-8BCA-4187-B526-6D881B93F9E5}" dt="2020-11-02T13:10:59.126" v="621" actId="14100"/>
          <ac:spMkLst>
            <pc:docMk/>
            <pc:sldMk cId="3759160042" sldId="268"/>
            <ac:spMk id="28" creationId="{502ACFD5-4AA4-4E30-9843-75BB197A562B}"/>
          </ac:spMkLst>
        </pc:spChg>
        <pc:spChg chg="mod topLvl">
          <ac:chgData name="Messaoudi, Damien (uid34375)" userId="4f89949d-5cea-46b7-a9d2-0e5d2d2bdbd6" providerId="ADAL" clId="{C4E40EE3-8BCA-4187-B526-6D881B93F9E5}" dt="2020-11-02T13:10:42.204" v="614" actId="165"/>
          <ac:spMkLst>
            <pc:docMk/>
            <pc:sldMk cId="3759160042" sldId="268"/>
            <ac:spMk id="29" creationId="{27DD6B12-E847-493F-8E6E-9546A30A80AC}"/>
          </ac:spMkLst>
        </pc:spChg>
        <pc:grpChg chg="add del mod">
          <ac:chgData name="Messaoudi, Damien (uid34375)" userId="4f89949d-5cea-46b7-a9d2-0e5d2d2bdbd6" providerId="ADAL" clId="{C4E40EE3-8BCA-4187-B526-6D881B93F9E5}" dt="2020-11-02T13:10:42.204" v="614" actId="165"/>
          <ac:grpSpMkLst>
            <pc:docMk/>
            <pc:sldMk cId="3759160042" sldId="268"/>
            <ac:grpSpMk id="30" creationId="{4B2C900F-D5FD-445C-A328-880528DEE8A1}"/>
          </ac:grpSpMkLst>
        </pc:grpChg>
        <pc:cxnChg chg="add mod">
          <ac:chgData name="Messaoudi, Damien (uid34375)" userId="4f89949d-5cea-46b7-a9d2-0e5d2d2bdbd6" providerId="ADAL" clId="{C4E40EE3-8BCA-4187-B526-6D881B93F9E5}" dt="2020-11-02T13:11:16.529" v="628" actId="208"/>
          <ac:cxnSpMkLst>
            <pc:docMk/>
            <pc:sldMk cId="3759160042" sldId="268"/>
            <ac:cxnSpMk id="32" creationId="{B2CA826D-C060-4874-9E7F-9843A44E5BAA}"/>
          </ac:cxnSpMkLst>
        </pc:cxnChg>
        <pc:cxnChg chg="add mod">
          <ac:chgData name="Messaoudi, Damien (uid34375)" userId="4f89949d-5cea-46b7-a9d2-0e5d2d2bdbd6" providerId="ADAL" clId="{C4E40EE3-8BCA-4187-B526-6D881B93F9E5}" dt="2020-11-02T13:13:42.966" v="673" actId="208"/>
          <ac:cxnSpMkLst>
            <pc:docMk/>
            <pc:sldMk cId="3759160042" sldId="268"/>
            <ac:cxnSpMk id="34" creationId="{4EA66B6D-6B54-431B-B690-C60D5298CF98}"/>
          </ac:cxnSpMkLst>
        </pc:cxnChg>
        <pc:cxnChg chg="add mod">
          <ac:chgData name="Messaoudi, Damien (uid34375)" userId="4f89949d-5cea-46b7-a9d2-0e5d2d2bdbd6" providerId="ADAL" clId="{C4E40EE3-8BCA-4187-B526-6D881B93F9E5}" dt="2020-11-02T13:13:42.966" v="673" actId="208"/>
          <ac:cxnSpMkLst>
            <pc:docMk/>
            <pc:sldMk cId="3759160042" sldId="268"/>
            <ac:cxnSpMk id="36" creationId="{BEFE101F-7F5D-4536-9B3E-5EBFF60C2512}"/>
          </ac:cxnSpMkLst>
        </pc:cxnChg>
        <pc:cxnChg chg="add del mod">
          <ac:chgData name="Messaoudi, Damien (uid34375)" userId="4f89949d-5cea-46b7-a9d2-0e5d2d2bdbd6" providerId="ADAL" clId="{C4E40EE3-8BCA-4187-B526-6D881B93F9E5}" dt="2020-11-02T13:11:45.038" v="634" actId="11529"/>
          <ac:cxnSpMkLst>
            <pc:docMk/>
            <pc:sldMk cId="3759160042" sldId="268"/>
            <ac:cxnSpMk id="38" creationId="{475AA2C0-A7E1-46F3-9684-798A37BE7FF2}"/>
          </ac:cxnSpMkLst>
        </pc:cxnChg>
        <pc:cxnChg chg="add mod">
          <ac:chgData name="Messaoudi, Damien (uid34375)" userId="4f89949d-5cea-46b7-a9d2-0e5d2d2bdbd6" providerId="ADAL" clId="{C4E40EE3-8BCA-4187-B526-6D881B93F9E5}" dt="2020-11-02T13:13:42.966" v="673" actId="208"/>
          <ac:cxnSpMkLst>
            <pc:docMk/>
            <pc:sldMk cId="3759160042" sldId="268"/>
            <ac:cxnSpMk id="40" creationId="{A3C8D279-961C-4E5D-8DE2-65EB0D4250EA}"/>
          </ac:cxnSpMkLst>
        </pc:cxnChg>
        <pc:cxnChg chg="add mod">
          <ac:chgData name="Messaoudi, Damien (uid34375)" userId="4f89949d-5cea-46b7-a9d2-0e5d2d2bdbd6" providerId="ADAL" clId="{C4E40EE3-8BCA-4187-B526-6D881B93F9E5}" dt="2020-11-02T13:13:42.966" v="673" actId="208"/>
          <ac:cxnSpMkLst>
            <pc:docMk/>
            <pc:sldMk cId="3759160042" sldId="268"/>
            <ac:cxnSpMk id="42" creationId="{60B6C703-DEC2-4936-8F05-DA6B21E60109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309AC5E-331E-47C5-B74D-DBE8E9CD79C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50" y="1600200"/>
            <a:ext cx="9972676" cy="1756792"/>
          </a:xfrm>
        </p:spPr>
        <p:txBody>
          <a:bodyPr anchor="b"/>
          <a:lstStyle>
            <a:lvl1pPr algn="l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sz="50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A366ED8-AB52-4EC1-B9BB-6625AECB295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847849" y="3465004"/>
            <a:ext cx="9972675" cy="792088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B05EF9-52FC-4156-ACA1-536839172E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1847849" y="4330339"/>
            <a:ext cx="9972675" cy="17989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0907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027BD71-4399-4B10-B541-DEE01F2E59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71F8E7-6C99-42F7-A33B-A1164F465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9201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9BA8FB27-B372-40DA-B6AA-742C42B4217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49" y="2672916"/>
            <a:ext cx="9972676" cy="1756792"/>
          </a:xfrm>
        </p:spPr>
        <p:txBody>
          <a:bodyPr anchor="ctr"/>
          <a:lstStyle>
            <a:lvl1pPr algn="l">
              <a:lnSpc>
                <a:spcPts val="5000"/>
              </a:lnSpc>
              <a:defRPr sz="58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038164-F6D3-4587-A969-E96281877C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629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471685-7D27-41C2-BB27-E58202061E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B13D563-06B7-404F-BB11-30D509A866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FF592FA-5F66-4F8A-BADA-B1572752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8DFAC-312D-433E-A2AB-7A5857F64398}" type="datetimeFigureOut">
              <a:rPr lang="fr-FR" smtClean="0"/>
              <a:t>03/11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7D9096-B659-4275-9F54-8D360F2B6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EB7923B-8748-4F11-8E23-E2C6C5238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5143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lead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93228"/>
            <a:ext cx="11449050" cy="983544"/>
          </a:xfrm>
        </p:spPr>
        <p:txBody>
          <a:bodyPr/>
          <a:lstStyle>
            <a:lvl1pPr>
              <a:lnSpc>
                <a:spcPts val="3800"/>
              </a:lnSpc>
              <a:defRPr sz="3800"/>
            </a:lvl1pPr>
          </a:lstStyle>
          <a:p>
            <a:r>
              <a:rPr lang="fr-FR" noProof="0"/>
              <a:t>Modifiez le style du titre</a:t>
            </a:r>
            <a:endParaRPr lang="de-DE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71474" y="1420396"/>
            <a:ext cx="11449051" cy="676456"/>
          </a:xfrm>
        </p:spPr>
        <p:txBody>
          <a:bodyPr/>
          <a:lstStyle>
            <a:lvl1pPr marL="0" indent="0">
              <a:buNone/>
              <a:defRPr sz="1900" cap="all" spc="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AF49845-489A-4610-8F7A-332E15A822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3016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7AF036-266E-40BE-B0E0-C9289E59DA3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C1C86E-090F-4145-8295-6AC6218E61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3762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5545138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6275387" y="1592263"/>
            <a:ext cx="55451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9413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35639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4295775" y="1592263"/>
            <a:ext cx="3600450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83DD1BA8-04B4-476C-AAC7-0F9177B68237}"/>
              </a:ext>
            </a:extLst>
          </p:cNvPr>
          <p:cNvSpPr>
            <a:spLocks noGrp="1"/>
          </p:cNvSpPr>
          <p:nvPr>
            <p:ph idx="19"/>
          </p:nvPr>
        </p:nvSpPr>
        <p:spPr bwMode="gray">
          <a:xfrm>
            <a:off x="8256588" y="1592263"/>
            <a:ext cx="3563936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35476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5" y="1592263"/>
            <a:ext cx="554513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75385" y="1592263"/>
            <a:ext cx="5545139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5388" y="5910894"/>
            <a:ext cx="5545136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1885B7-2E03-47DD-BD4B-63B7ACC2CC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386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364" y="1592263"/>
            <a:ext cx="259249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324225" y="1592263"/>
            <a:ext cx="8496300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24225" y="5910894"/>
            <a:ext cx="8496300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A71FD0-D6A4-4724-A464-B27A01326C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7359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00BC5B3-F2A0-4A8D-9639-D8303B9B51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4282ECD-EAC2-4687-ADA4-43F3F14316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9473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9D1E11-1F27-43E9-A619-3800CF71FD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0328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A110C601-1C9F-48C1-B18E-2411ED460D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8583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Diapositive think-cell" r:id="rId17" imgW="281" imgH="281" progId="TCLayout.ActiveDocument.1">
                  <p:embed/>
                </p:oleObj>
              </mc:Choice>
              <mc:Fallback>
                <p:oleObj name="Diapositive think-cell" r:id="rId17" imgW="281" imgH="28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A110C601-1C9F-48C1-B18E-2411ED460D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BFFF6CC-C644-4F8B-A7AD-82F83A4A294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1F3E609-30E1-42A9-8D5E-E61AA83FAD6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55602"/>
            <a:ext cx="11449050" cy="3651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592263"/>
            <a:ext cx="11449050" cy="4537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8CC8C263-9E2F-40C3-8867-CB4A537C7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71364" y="6570873"/>
            <a:ext cx="360040" cy="185105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 spc="30" baseline="0">
                <a:solidFill>
                  <a:schemeClr val="tx1"/>
                </a:solidFill>
              </a:defRPr>
            </a:lvl1pPr>
          </a:lstStyle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1D678A09-755E-4ADC-AA02-C61252B670E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094217" y="6420146"/>
            <a:ext cx="726419" cy="256357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1A783CE7-0EF9-4D14-8316-C8DF4EE33AA6}"/>
              </a:ext>
            </a:extLst>
          </p:cNvPr>
          <p:cNvSpPr/>
          <p:nvPr/>
        </p:nvSpPr>
        <p:spPr bwMode="gray">
          <a:xfrm>
            <a:off x="0" y="0"/>
            <a:ext cx="1381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CB3DE9A-7BF9-4BA5-BE98-B2F461168D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849" y="6570875"/>
            <a:ext cx="8496301" cy="1851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1985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7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pos="3727">
          <p15:clr>
            <a:srgbClr val="F26B43"/>
          </p15:clr>
        </p15:guide>
        <p15:guide id="5" pos="3953">
          <p15:clr>
            <a:srgbClr val="F26B43"/>
          </p15:clr>
        </p15:guide>
        <p15:guide id="6" pos="3024">
          <p15:clr>
            <a:srgbClr val="F26B43"/>
          </p15:clr>
        </p15:guide>
        <p15:guide id="7" pos="2797">
          <p15:clr>
            <a:srgbClr val="F26B43"/>
          </p15:clr>
        </p15:guide>
        <p15:guide id="8" pos="4656">
          <p15:clr>
            <a:srgbClr val="F26B43"/>
          </p15:clr>
        </p15:guide>
        <p15:guide id="9" pos="4883">
          <p15:clr>
            <a:srgbClr val="F26B43"/>
          </p15:clr>
        </p15:guide>
        <p15:guide id="10" pos="5586">
          <p15:clr>
            <a:srgbClr val="F26B43"/>
          </p15:clr>
        </p15:guide>
        <p15:guide id="11" pos="5813">
          <p15:clr>
            <a:srgbClr val="F26B43"/>
          </p15:clr>
        </p15:guide>
        <p15:guide id="12" pos="1867">
          <p15:clr>
            <a:srgbClr val="F26B43"/>
          </p15:clr>
        </p15:guide>
        <p15:guide id="13" pos="2094">
          <p15:clr>
            <a:srgbClr val="F26B43"/>
          </p15:clr>
        </p15:guide>
        <p15:guide id="14" pos="1164">
          <p15:clr>
            <a:srgbClr val="F26B43"/>
          </p15:clr>
        </p15:guide>
        <p15:guide id="15" pos="937">
          <p15:clr>
            <a:srgbClr val="F26B43"/>
          </p15:clr>
        </p15:guide>
        <p15:guide id="16" pos="6516">
          <p15:clr>
            <a:srgbClr val="F26B43"/>
          </p15:clr>
        </p15:guide>
        <p15:guide id="17" pos="6743">
          <p15:clr>
            <a:srgbClr val="F26B43"/>
          </p15:clr>
        </p15:guide>
        <p15:guide id="18" orient="horz" pos="1003">
          <p15:clr>
            <a:srgbClr val="F26B43"/>
          </p15:clr>
        </p15:guide>
        <p15:guide id="19" orient="horz" pos="3861">
          <p15:clr>
            <a:srgbClr val="F26B43"/>
          </p15:clr>
        </p15:guide>
        <p15:guide id="20" pos="3840">
          <p15:clr>
            <a:srgbClr val="F26B43"/>
          </p15:clr>
        </p15:guide>
        <p15:guide id="21" orient="horz" pos="2432">
          <p15:clr>
            <a:srgbClr val="F26B43"/>
          </p15:clr>
        </p15:guide>
        <p15:guide id="22" pos="2479">
          <p15:clr>
            <a:srgbClr val="F26B43"/>
          </p15:clr>
        </p15:guide>
        <p15:guide id="23" pos="2706">
          <p15:clr>
            <a:srgbClr val="F26B43"/>
          </p15:clr>
        </p15:guide>
        <p15:guide id="24" pos="5201">
          <p15:clr>
            <a:srgbClr val="F26B43"/>
          </p15:clr>
        </p15:guide>
        <p15:guide id="25" pos="4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fr.rs-online.com/web/p/connecteurs-hdmi/8183282/" TargetMode="External"/><Relationship Id="rId3" Type="http://schemas.openxmlformats.org/officeDocument/2006/relationships/tags" Target="../tags/tag68.xml"/><Relationship Id="rId7" Type="http://schemas.openxmlformats.org/officeDocument/2006/relationships/image" Target="../media/image4.tmp"/><Relationship Id="rId2" Type="http://schemas.openxmlformats.org/officeDocument/2006/relationships/tags" Target="../tags/tag6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4.xml"/><Relationship Id="rId9" Type="http://schemas.openxmlformats.org/officeDocument/2006/relationships/hyperlink" Target="https://www.we-online.fr/catalog/en/COM_SMT_HORIZONTAL?sq=685119134923&amp;sp=https%3A%2F%2Fwww.we-online.fr%2Fweb%2Ffr%2Fwuerth_elektronik%2Fsearchpage.php%3Fsearch%3D685119134923#685119134923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e.com/usa-en/product-1-1337542-0.html" TargetMode="External"/><Relationship Id="rId3" Type="http://schemas.openxmlformats.org/officeDocument/2006/relationships/tags" Target="../tags/tag70.xml"/><Relationship Id="rId7" Type="http://schemas.openxmlformats.org/officeDocument/2006/relationships/hyperlink" Target="https://fr.rs-online.com/web/p/connecteurs-coaxiaux/5121203/" TargetMode="External"/><Relationship Id="rId2" Type="http://schemas.openxmlformats.org/officeDocument/2006/relationships/tags" Target="../tags/tag6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72.xml"/><Relationship Id="rId7" Type="http://schemas.openxmlformats.org/officeDocument/2006/relationships/hyperlink" Target="https://www.waveshare.com/7inch-HDMI-LCD-B.htm" TargetMode="External"/><Relationship Id="rId2" Type="http://schemas.openxmlformats.org/officeDocument/2006/relationships/tags" Target="../tags/tag7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74.xml"/><Relationship Id="rId7" Type="http://schemas.openxmlformats.org/officeDocument/2006/relationships/hyperlink" Target="https://www.adafruit.com/product/1590" TargetMode="External"/><Relationship Id="rId2" Type="http://schemas.openxmlformats.org/officeDocument/2006/relationships/tags" Target="../tags/tag7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e-online.com/catalog/en/DC_RIGHT_ANGLED_6_4_69410X301002" TargetMode="External"/><Relationship Id="rId3" Type="http://schemas.openxmlformats.org/officeDocument/2006/relationships/tags" Target="../tags/tag76.xml"/><Relationship Id="rId7" Type="http://schemas.openxmlformats.org/officeDocument/2006/relationships/image" Target="../media/image10.tmp"/><Relationship Id="rId2" Type="http://schemas.openxmlformats.org/officeDocument/2006/relationships/tags" Target="../tags/tag7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kkswitches.eu/products/Slides/Slides%20MS/MS12ASW30/" TargetMode="External"/><Relationship Id="rId3" Type="http://schemas.openxmlformats.org/officeDocument/2006/relationships/tags" Target="../tags/tag78.xml"/><Relationship Id="rId7" Type="http://schemas.openxmlformats.org/officeDocument/2006/relationships/hyperlink" Target="https://fr.rs-online.com/web/p/interrupteurs-a-glissiere/1251854/" TargetMode="External"/><Relationship Id="rId2" Type="http://schemas.openxmlformats.org/officeDocument/2006/relationships/tags" Target="../tags/tag7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2.emf"/><Relationship Id="rId2" Type="http://schemas.openxmlformats.org/officeDocument/2006/relationships/tags" Target="../tags/tag7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.com/en/evaluation-tools/nucleo-f429zi.html" TargetMode="External"/><Relationship Id="rId3" Type="http://schemas.openxmlformats.org/officeDocument/2006/relationships/tags" Target="../tags/tag82.xml"/><Relationship Id="rId7" Type="http://schemas.openxmlformats.org/officeDocument/2006/relationships/image" Target="../media/image13.jpg"/><Relationship Id="rId2" Type="http://schemas.openxmlformats.org/officeDocument/2006/relationships/tags" Target="../tags/tag8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tags" Target="../tags/tag48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42" Type="http://schemas.openxmlformats.org/officeDocument/2006/relationships/tags" Target="../tags/tag51.xml"/><Relationship Id="rId47" Type="http://schemas.openxmlformats.org/officeDocument/2006/relationships/tags" Target="../tags/tag56.xml"/><Relationship Id="rId50" Type="http://schemas.openxmlformats.org/officeDocument/2006/relationships/tags" Target="../tags/tag59.xml"/><Relationship Id="rId55" Type="http://schemas.openxmlformats.org/officeDocument/2006/relationships/tags" Target="../tags/tag64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tags" Target="../tags/tag55.xml"/><Relationship Id="rId59" Type="http://schemas.openxmlformats.org/officeDocument/2006/relationships/oleObject" Target="../embeddings/oleObject8.bin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tags" Target="../tags/tag38.xml"/><Relationship Id="rId41" Type="http://schemas.openxmlformats.org/officeDocument/2006/relationships/tags" Target="../tags/tag50.xml"/><Relationship Id="rId54" Type="http://schemas.openxmlformats.org/officeDocument/2006/relationships/tags" Target="../tags/tag63.xml"/><Relationship Id="rId1" Type="http://schemas.openxmlformats.org/officeDocument/2006/relationships/vmlDrawing" Target="../drawings/vmlDrawing8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40" Type="http://schemas.openxmlformats.org/officeDocument/2006/relationships/tags" Target="../tags/tag49.xml"/><Relationship Id="rId45" Type="http://schemas.openxmlformats.org/officeDocument/2006/relationships/tags" Target="../tags/tag54.xml"/><Relationship Id="rId53" Type="http://schemas.openxmlformats.org/officeDocument/2006/relationships/tags" Target="../tags/tag62.xml"/><Relationship Id="rId58" Type="http://schemas.openxmlformats.org/officeDocument/2006/relationships/slideLayout" Target="../slideLayouts/slideLayout3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49" Type="http://schemas.openxmlformats.org/officeDocument/2006/relationships/tags" Target="../tags/tag58.xml"/><Relationship Id="rId57" Type="http://schemas.openxmlformats.org/officeDocument/2006/relationships/tags" Target="../tags/tag66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4" Type="http://schemas.openxmlformats.org/officeDocument/2006/relationships/tags" Target="../tags/tag53.xml"/><Relationship Id="rId52" Type="http://schemas.openxmlformats.org/officeDocument/2006/relationships/tags" Target="../tags/tag61.xml"/><Relationship Id="rId60" Type="http://schemas.openxmlformats.org/officeDocument/2006/relationships/image" Target="../media/image1.emf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43" Type="http://schemas.openxmlformats.org/officeDocument/2006/relationships/tags" Target="../tags/tag52.xml"/><Relationship Id="rId48" Type="http://schemas.openxmlformats.org/officeDocument/2006/relationships/tags" Target="../tags/tag57.xml"/><Relationship Id="rId56" Type="http://schemas.openxmlformats.org/officeDocument/2006/relationships/tags" Target="../tags/tag65.xml"/><Relationship Id="rId8" Type="http://schemas.openxmlformats.org/officeDocument/2006/relationships/tags" Target="../tags/tag17.xml"/><Relationship Id="rId51" Type="http://schemas.openxmlformats.org/officeDocument/2006/relationships/tags" Target="../tags/tag60.xml"/><Relationship Id="rId3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AA4D8018-CACC-466B-9E67-7B9A36C547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665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AA4D8018-CACC-466B-9E67-7B9A36C547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75C59B2-FBF5-45FE-B31A-D6B07F03CE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50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7488764-8C4E-48F4-9382-AE725898356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Statut HW CW44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168F983-6374-407D-B298-2BA5121E62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E92EAEE-3A54-44E0-9970-642C1EE5EE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620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ECB67263-0379-4BF9-9F55-34BDD8906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956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ECB67263-0379-4BF9-9F55-34BDD8906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1FB29-3C60-464B-A1AD-1999B9F0A1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pic>
        <p:nvPicPr>
          <p:cNvPr id="9" name="Espace réservé du contenu 8" descr="Une image contenant objets métalliques, jack&#10;&#10;Description générée automatiquement">
            <a:extLst>
              <a:ext uri="{FF2B5EF4-FFF2-40B4-BE49-F238E27FC236}">
                <a16:creationId xmlns:a16="http://schemas.microsoft.com/office/drawing/2014/main" id="{13A95A0B-3B23-4486-89B3-8E9BBF1073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258" y="2489081"/>
            <a:ext cx="3825572" cy="2743438"/>
          </a:xfr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A1B4F50-9990-4D9C-9AFE-222B322F2A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7369034-0C96-4742-870C-C6AF6D752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necteur HDMI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D547759D-DD90-47F2-9882-649CBB800E9C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r>
              <a:rPr lang="fr-FR" b="1" dirty="0"/>
              <a:t>Connecteur HDMI Femelle 19 voies Standard Angle droit 40 V </a:t>
            </a:r>
            <a:r>
              <a:rPr lang="fr-FR" b="1" dirty="0" err="1"/>
              <a:t>c.c</a:t>
            </a:r>
            <a:r>
              <a:rPr lang="fr-FR" b="1" dirty="0"/>
              <a:t>. </a:t>
            </a:r>
          </a:p>
          <a:p>
            <a:pPr marL="0" indent="0">
              <a:buNone/>
            </a:pPr>
            <a:endParaRPr lang="fr-FR" b="1" dirty="0"/>
          </a:p>
          <a:p>
            <a:pPr marL="0" indent="0">
              <a:buNone/>
            </a:pPr>
            <a:r>
              <a:rPr lang="fr-FR" dirty="0">
                <a:hlinkClick r:id="rId8"/>
              </a:rPr>
              <a:t>https://fr.rs-online.com/web/p/connecteurs-hdmi/8183282/</a:t>
            </a: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>
                <a:hlinkClick r:id="rId9"/>
              </a:rPr>
              <a:t>https://www.we-online.fr/catalog/en/COM_SMT_HORIZONTAL?sq=685119134923&amp;sp=https%3A%2F%2Fwww.we-online.fr%2Fweb%2Ffr%2Fwuerth_elektronik%2Fsearchpage.php%3Fsearch%3D685119134923#685119134923</a:t>
            </a:r>
            <a:r>
              <a:rPr lang="fr-FR" dirty="0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F4B846-FA92-4BB0-9618-393AAC1150F5}"/>
              </a:ext>
            </a:extLst>
          </p:cNvPr>
          <p:cNvSpPr/>
          <p:nvPr/>
        </p:nvSpPr>
        <p:spPr>
          <a:xfrm>
            <a:off x="8639174" y="5754465"/>
            <a:ext cx="2085975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3D AVAILABLE </a:t>
            </a:r>
          </a:p>
        </p:txBody>
      </p:sp>
    </p:spTree>
    <p:extLst>
      <p:ext uri="{BB962C8B-B14F-4D97-AF65-F5344CB8AC3E}">
        <p14:creationId xmlns:p14="http://schemas.microsoft.com/office/powerpoint/2010/main" val="18370087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ECB67263-0379-4BF9-9F55-34BDD8906C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179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ECB67263-0379-4BF9-9F55-34BDD8906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1FB29-3C60-464B-A1AD-1999B9F0A1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A1B4F50-9990-4D9C-9AFE-222B322F2A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7369034-0C96-4742-870C-C6AF6D752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necteur BNC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D547759D-DD90-47F2-9882-649CBB800E9C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b="1" dirty="0"/>
              <a:t>Connecteur BNC, Femelle, à angle droit, raccordement Traversant, 50Ω, Montage sur CI</a:t>
            </a:r>
          </a:p>
          <a:p>
            <a:pPr marL="0" indent="0">
              <a:buNone/>
            </a:pPr>
            <a:endParaRPr lang="fr-FR" b="1" dirty="0"/>
          </a:p>
          <a:p>
            <a:pPr marL="0" indent="0">
              <a:buNone/>
            </a:pPr>
            <a:r>
              <a:rPr lang="fr-FR" dirty="0">
                <a:hlinkClick r:id="rId7"/>
              </a:rPr>
              <a:t>https://fr.rs-online.com/web/p/connecteurs-coaxiaux/5121203/</a:t>
            </a: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>
                <a:hlinkClick r:id="rId8"/>
              </a:rPr>
              <a:t>https://www.te.com/usa-en/product-1-1337542-0.html</a:t>
            </a:r>
            <a:r>
              <a:rPr lang="fr-FR" dirty="0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F4B846-FA92-4BB0-9618-393AAC1150F5}"/>
              </a:ext>
            </a:extLst>
          </p:cNvPr>
          <p:cNvSpPr/>
          <p:nvPr/>
        </p:nvSpPr>
        <p:spPr>
          <a:xfrm>
            <a:off x="8639174" y="5754465"/>
            <a:ext cx="2085975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3D AVAILABLE </a:t>
            </a:r>
          </a:p>
        </p:txBody>
      </p:sp>
      <p:pic>
        <p:nvPicPr>
          <p:cNvPr id="6146" name="Picture 2" descr="BNC Ins LP PCB Skt 50Ohm White-1-1337542-0">
            <a:extLst>
              <a:ext uri="{FF2B5EF4-FFF2-40B4-BE49-F238E27FC236}">
                <a16:creationId xmlns:a16="http://schemas.microsoft.com/office/drawing/2014/main" id="{C5B35E79-FC91-4E9C-BE9E-186804B2422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810" y="2752726"/>
            <a:ext cx="3261784" cy="2446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00767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C271E7B-20BD-4137-A822-53B6061A2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C271E7B-20BD-4137-A822-53B6061A2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D4B208-F343-4B4C-B750-3231C81B17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6BB706C-CC46-461E-8668-EBB7E5023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7 </a:t>
            </a:r>
            <a:r>
              <a:rPr lang="fr-FR" dirty="0" err="1"/>
              <a:t>inch</a:t>
            </a:r>
            <a:r>
              <a:rPr lang="fr-FR" dirty="0"/>
              <a:t> HDMI LCD 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37E3AF-F529-4C44-8CC3-1E2AF1D74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Ecran</a:t>
            </a:r>
            <a:r>
              <a:rPr lang="fr-FR" dirty="0"/>
              <a:t> tactile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57B5E5F4-651B-49F4-B84A-F151C92174DD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fr-FR" b="1" dirty="0"/>
              <a:t>7inch HDMI LCD (B) </a:t>
            </a:r>
          </a:p>
          <a:p>
            <a:pPr marL="176212" lvl="1" indent="0">
              <a:lnSpc>
                <a:spcPct val="200000"/>
              </a:lnSpc>
              <a:buNone/>
            </a:pPr>
            <a:r>
              <a:rPr lang="en-US" dirty="0"/>
              <a:t>Resolution: 800 x 480</a:t>
            </a:r>
          </a:p>
          <a:p>
            <a:pPr marL="182562" lvl="1" indent="0">
              <a:buNone/>
            </a:pPr>
            <a:r>
              <a:rPr lang="en-US" dirty="0"/>
              <a:t>7” LCD Screen </a:t>
            </a:r>
          </a:p>
          <a:p>
            <a:pPr marL="182562" lvl="1" indent="0">
              <a:buNone/>
            </a:pPr>
            <a:r>
              <a:rPr lang="en-US" dirty="0"/>
              <a:t>Capacitive Touch</a:t>
            </a:r>
          </a:p>
          <a:p>
            <a:pPr marL="182562" lvl="1" indent="0">
              <a:buNone/>
            </a:pPr>
            <a:endParaRPr lang="fr-FR" dirty="0"/>
          </a:p>
          <a:p>
            <a:pPr marL="182562" lvl="1" indent="0">
              <a:buNone/>
            </a:pPr>
            <a:r>
              <a:rPr lang="fr-FR" dirty="0">
                <a:hlinkClick r:id="rId7"/>
              </a:rPr>
              <a:t>https://www.waveshare.com/7inch-HDMI-LCD-B.htm</a:t>
            </a:r>
            <a:r>
              <a:rPr lang="fr-FR" dirty="0"/>
              <a:t> </a:t>
            </a:r>
          </a:p>
          <a:p>
            <a:pPr marL="182562" lvl="1" indent="0">
              <a:buNone/>
            </a:pPr>
            <a:endParaRPr lang="fr-FR" dirty="0"/>
          </a:p>
        </p:txBody>
      </p:sp>
      <p:pic>
        <p:nvPicPr>
          <p:cNvPr id="3074" name="Picture 2" descr="Waveshare 7 inch 1024*600 Capacitive Touch Screen LCD Display HDMI  Interface Custom Raspbian Angstrom Supports Various Systems for All Ver.  Raspberry pi Beaglebone Black Banana Pi/Pro Video Photo Kit: Amazon.fr:  High-tech">
            <a:extLst>
              <a:ext uri="{FF2B5EF4-FFF2-40B4-BE49-F238E27FC236}">
                <a16:creationId xmlns:a16="http://schemas.microsoft.com/office/drawing/2014/main" id="{DAAB2A7A-968F-46A8-9BE3-D20D8EF088C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2256059"/>
            <a:ext cx="5545138" cy="3209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160AECD0-9703-4C29-A9D8-E969D88C32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113" y="4798792"/>
            <a:ext cx="285750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1414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C271E7B-20BD-4137-A822-53B6061A2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C271E7B-20BD-4137-A822-53B6061A2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D4B208-F343-4B4C-B750-3231C81B17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6BB706C-CC46-461E-8668-EBB7E5023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err="1"/>
              <a:t>Controleur</a:t>
            </a:r>
            <a:r>
              <a:rPr lang="fr-FR" dirty="0"/>
              <a:t> écra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37E3AF-F529-4C44-8CC3-1E2AF1D74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Ecran</a:t>
            </a:r>
            <a:r>
              <a:rPr lang="fr-FR" dirty="0"/>
              <a:t> tactile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57B5E5F4-651B-49F4-B84A-F151C92174DD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en-US" b="1" dirty="0"/>
              <a:t>RA8875 Driver Board for 40-pin TFT Touch Displays - 800x480</a:t>
            </a:r>
          </a:p>
          <a:p>
            <a:pPr marL="182562" lvl="1" indent="0">
              <a:buNone/>
            </a:pPr>
            <a:endParaRPr lang="fr-FR" dirty="0"/>
          </a:p>
          <a:p>
            <a:pPr marL="182562" lvl="1" indent="0">
              <a:buNone/>
            </a:pPr>
            <a:r>
              <a:rPr lang="fr-FR" dirty="0">
                <a:hlinkClick r:id="rId7"/>
              </a:rPr>
              <a:t>https://www.adafruit.com/product/1590</a:t>
            </a:r>
            <a:r>
              <a:rPr lang="fr-FR" dirty="0"/>
              <a:t> </a:t>
            </a:r>
          </a:p>
        </p:txBody>
      </p:sp>
      <p:pic>
        <p:nvPicPr>
          <p:cNvPr id="10" name="Espace réservé du contenu 9" descr="Une image contenant texte, équipement électronique, circuit&#10;&#10;Description générée automatiquement">
            <a:extLst>
              <a:ext uri="{FF2B5EF4-FFF2-40B4-BE49-F238E27FC236}">
                <a16:creationId xmlns:a16="http://schemas.microsoft.com/office/drawing/2014/main" id="{7386C8EA-8694-40DF-BB08-41C1FB8C75E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244" y="2489200"/>
            <a:ext cx="3657600" cy="2743200"/>
          </a:xfrm>
        </p:spPr>
      </p:pic>
    </p:spTree>
    <p:extLst>
      <p:ext uri="{BB962C8B-B14F-4D97-AF65-F5344CB8AC3E}">
        <p14:creationId xmlns:p14="http://schemas.microsoft.com/office/powerpoint/2010/main" val="17488249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567FF69F-285F-4226-BFC9-36156E3A58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58A446C-CFDF-4E3F-8995-26A0B5DD6B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2EB1610-76E3-4C38-9753-0B724A50A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83F6C0E-E314-4C8D-8228-24C2AC52514B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758611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32FF117-E31E-4570-BD30-F9C186119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3575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D32FF117-E31E-4570-BD30-F9C186119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CB6B22-B181-45C9-9B73-8F605FB80D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pic>
        <p:nvPicPr>
          <p:cNvPr id="9" name="Espace réservé du contenu 8" descr="Une image contenant équipement électronique&#10;&#10;Description générée automatiquement">
            <a:extLst>
              <a:ext uri="{FF2B5EF4-FFF2-40B4-BE49-F238E27FC236}">
                <a16:creationId xmlns:a16="http://schemas.microsoft.com/office/drawing/2014/main" id="{64E2DE08-8DE1-40E1-9F98-5B1FADA27F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275" y="2500512"/>
            <a:ext cx="3665538" cy="2720576"/>
          </a:xfr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EC4101B-FE5C-470B-B485-C8AE517872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C5000B6-5361-404D-B152-B7B5C5041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necteur DC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7521ED38-2F54-4BB9-B337-C4D4A4836C05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b="1" dirty="0"/>
              <a:t>Prise d'alimentation CC Angle droit 24,0 V 5.0A, 9.0mm, Montage panneau</a:t>
            </a:r>
          </a:p>
          <a:p>
            <a:pPr marL="0" indent="0">
              <a:buNone/>
            </a:pPr>
            <a:endParaRPr lang="fr-FR" dirty="0">
              <a:hlinkClick r:id="rId8"/>
            </a:endParaRPr>
          </a:p>
          <a:p>
            <a:pPr marL="0" indent="0">
              <a:buNone/>
            </a:pPr>
            <a:endParaRPr lang="fr-FR" dirty="0">
              <a:hlinkClick r:id="rId8"/>
            </a:endParaRPr>
          </a:p>
          <a:p>
            <a:pPr marL="0" indent="0">
              <a:buNone/>
            </a:pPr>
            <a:endParaRPr lang="fr-FR" dirty="0">
              <a:hlinkClick r:id="rId8"/>
            </a:endParaRPr>
          </a:p>
          <a:p>
            <a:pPr marL="176212" lvl="1" indent="0">
              <a:buNone/>
            </a:pPr>
            <a:r>
              <a:rPr lang="fr-FR" dirty="0">
                <a:hlinkClick r:id="rId8"/>
              </a:rPr>
              <a:t>https://fr.rs-online.com/web/p/connecteurs-d-alimentation-dc/1224879/</a:t>
            </a:r>
          </a:p>
          <a:p>
            <a:pPr marL="176212" lvl="1" indent="0">
              <a:buNone/>
            </a:pPr>
            <a:endParaRPr lang="fr-FR" dirty="0">
              <a:hlinkClick r:id="rId8"/>
            </a:endParaRPr>
          </a:p>
          <a:p>
            <a:pPr marL="176212" lvl="1" indent="0">
              <a:buNone/>
            </a:pPr>
            <a:r>
              <a:rPr lang="fr-FR" dirty="0">
                <a:hlinkClick r:id="rId8"/>
              </a:rPr>
              <a:t>https://www.we-online.com/catalog/en/DC_RIGHT_ANGLED_6_4_69410X301002</a:t>
            </a:r>
            <a:endParaRPr lang="fr-FR" dirty="0"/>
          </a:p>
          <a:p>
            <a:endParaRPr lang="fr-F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8E907F-1309-4AAC-BDAD-68189B892CFA}"/>
              </a:ext>
            </a:extLst>
          </p:cNvPr>
          <p:cNvSpPr/>
          <p:nvPr/>
        </p:nvSpPr>
        <p:spPr>
          <a:xfrm>
            <a:off x="8639174" y="5754465"/>
            <a:ext cx="2085975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3D AVAILABLE </a:t>
            </a:r>
          </a:p>
        </p:txBody>
      </p:sp>
    </p:spTree>
    <p:extLst>
      <p:ext uri="{BB962C8B-B14F-4D97-AF65-F5344CB8AC3E}">
        <p14:creationId xmlns:p14="http://schemas.microsoft.com/office/powerpoint/2010/main" val="33069512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CEFD9C-442B-43EE-B054-A9A95D9BE0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260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CEFD9C-442B-43EE-B054-A9A95D9BE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058668-977D-4CC6-A8CE-851497CD6A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AFD3EF1-5D0B-4BD6-AE66-02018C5096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5A413DA-A88B-4AEC-AD2D-89D25A40D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terrupteur ON/OFF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025D0E3-54F1-439A-A5C9-95968C1B067F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b="1" dirty="0"/>
              <a:t>Commutateur à glissière, Unipolaire à deux directions (1RT), Verrouillable, 3 A @ 250 V </a:t>
            </a:r>
            <a:r>
              <a:rPr lang="fr-FR" b="1" dirty="0" err="1"/>
              <a:t>c.a</a:t>
            </a:r>
            <a:r>
              <a:rPr lang="fr-FR" b="1" dirty="0"/>
              <a:t>, 6 A @ 125 V </a:t>
            </a:r>
            <a:r>
              <a:rPr lang="fr-FR" b="1" dirty="0" err="1"/>
              <a:t>c.a</a:t>
            </a:r>
            <a:r>
              <a:rPr lang="fr-FR" b="1" dirty="0"/>
              <a:t>, </a:t>
            </a:r>
            <a:r>
              <a:rPr lang="fr-FR" b="1" dirty="0" err="1"/>
              <a:t>Etrier</a:t>
            </a:r>
            <a:r>
              <a:rPr lang="fr-FR" b="1" dirty="0"/>
              <a:t> de</a:t>
            </a:r>
          </a:p>
          <a:p>
            <a:pPr marL="0" indent="0">
              <a:buNone/>
            </a:pPr>
            <a:endParaRPr lang="fr-FR" b="1" dirty="0"/>
          </a:p>
          <a:p>
            <a:pPr marL="0" indent="0">
              <a:buNone/>
            </a:pPr>
            <a:r>
              <a:rPr lang="fr-FR" dirty="0">
                <a:hlinkClick r:id="rId7"/>
              </a:rPr>
              <a:t>https://fr.rs-online.com/web/p/interrupteurs-a-glissiere/1251854/</a:t>
            </a: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>
                <a:hlinkClick r:id="rId8"/>
              </a:rPr>
              <a:t>https://www.nkkswitches.eu/products/Slides/Slides%20MS/MS12ASW30/</a:t>
            </a:r>
            <a:r>
              <a:rPr lang="fr-FR" dirty="0"/>
              <a:t> </a:t>
            </a:r>
          </a:p>
          <a:p>
            <a:endParaRPr lang="fr-FR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9EB03C84-8CE6-422D-82AA-594E5FA7B0D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506" y="1592263"/>
            <a:ext cx="4537075" cy="453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2F2B14A-9EEB-4933-B711-735D6F2013C5}"/>
              </a:ext>
            </a:extLst>
          </p:cNvPr>
          <p:cNvSpPr/>
          <p:nvPr/>
        </p:nvSpPr>
        <p:spPr>
          <a:xfrm>
            <a:off x="8639174" y="5754465"/>
            <a:ext cx="2085975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3D AVAILABLE </a:t>
            </a:r>
          </a:p>
        </p:txBody>
      </p:sp>
    </p:spTree>
    <p:extLst>
      <p:ext uri="{BB962C8B-B14F-4D97-AF65-F5344CB8AC3E}">
        <p14:creationId xmlns:p14="http://schemas.microsoft.com/office/powerpoint/2010/main" val="18248145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81836F9-14ED-4631-B361-67EAFDBE86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81836F9-14ED-4631-B361-67EAFDBE86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D54F893-5594-4AF1-82A3-6A564422C4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0B4F2E7-4479-47BA-B6F1-2CBE7FA9F4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b="1" dirty="0"/>
              <a:t>Micro module industriel - ECP3 - Dual DDR2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9D90555-9244-4600-A25C-5980CB28A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ule </a:t>
            </a:r>
            <a:r>
              <a:rPr lang="fr-FR" dirty="0" err="1"/>
              <a:t>lattice</a:t>
            </a:r>
            <a:r>
              <a:rPr lang="fr-FR" dirty="0"/>
              <a:t> </a:t>
            </a:r>
            <a:r>
              <a:rPr lang="fr-FR" dirty="0" err="1"/>
              <a:t>tachyssema</a:t>
            </a:r>
            <a:endParaRPr lang="fr-FR" dirty="0"/>
          </a:p>
        </p:txBody>
      </p:sp>
      <p:graphicFrame>
        <p:nvGraphicFramePr>
          <p:cNvPr id="11" name="Tableau 11">
            <a:extLst>
              <a:ext uri="{FF2B5EF4-FFF2-40B4-BE49-F238E27FC236}">
                <a16:creationId xmlns:a16="http://schemas.microsoft.com/office/drawing/2014/main" id="{DD372919-D6EA-4CCB-B7DF-E7F44D06E413}"/>
              </a:ext>
            </a:extLst>
          </p:cNvPr>
          <p:cNvGraphicFramePr>
            <a:graphicFrameLocks noGrp="1"/>
          </p:cNvGraphicFramePr>
          <p:nvPr>
            <p:ph idx="16"/>
          </p:nvPr>
        </p:nvGraphicFramePr>
        <p:xfrm>
          <a:off x="6032107" y="1044347"/>
          <a:ext cx="5545136" cy="383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2568">
                  <a:extLst>
                    <a:ext uri="{9D8B030D-6E8A-4147-A177-3AD203B41FA5}">
                      <a16:colId xmlns:a16="http://schemas.microsoft.com/office/drawing/2014/main" val="2630862572"/>
                    </a:ext>
                  </a:extLst>
                </a:gridCol>
                <a:gridCol w="2772568">
                  <a:extLst>
                    <a:ext uri="{9D8B030D-6E8A-4147-A177-3AD203B41FA5}">
                      <a16:colId xmlns:a16="http://schemas.microsoft.com/office/drawing/2014/main" val="168111974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HV3 Module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08224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PGA package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pBGA</a:t>
                      </a:r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72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38263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ECP3 </a:t>
                      </a:r>
                      <a:r>
                        <a:rPr lang="fr-FR" sz="1200" b="1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nsity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 / 95 / 150 (Klut 67/92/149)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844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DR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x 1Gb @ 400MHz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4781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CFI user flash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2Mb to 1Gb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0370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External</a:t>
                      </a:r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I/O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8005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 speed links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8 SERDES @3.125Gb/s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02779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iguration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Mb / 64Mb SPI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98139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x18 </a:t>
                      </a:r>
                      <a:r>
                        <a:rPr lang="fr-FR" sz="1200" b="1" kern="120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ltipliers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 / 128 / 320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08142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mensions (mm)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9 x 62 mm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9017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CO 32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ly embedded in the device as softcore license free IP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50067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l-G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μ</a:t>
                      </a:r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-Linux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ly embedded in CFI flash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1544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ly</a:t>
                      </a:r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oltage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ngle 3.3V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1507592"/>
                  </a:ext>
                </a:extLst>
              </a:tr>
            </a:tbl>
          </a:graphicData>
        </a:graphic>
      </p:graphicFrame>
      <p:pic>
        <p:nvPicPr>
          <p:cNvPr id="10" name="Espace réservé du contenu 9">
            <a:extLst>
              <a:ext uri="{FF2B5EF4-FFF2-40B4-BE49-F238E27FC236}">
                <a16:creationId xmlns:a16="http://schemas.microsoft.com/office/drawing/2014/main" id="{BE5B55C0-6490-4F3A-91FB-E3B160F922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1678731" y="2473933"/>
            <a:ext cx="2930625" cy="2773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3644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CD27F8C6-A44F-4C4A-A06F-C9FAE22496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773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CD27F8C6-A44F-4C4A-A06F-C9FAE2249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A5C204A-9E28-4332-8B58-3A1FE17473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pic>
        <p:nvPicPr>
          <p:cNvPr id="7" name="Espace réservé du contenu 6" descr="Une image contenant texte, équipement électronique&#10;&#10;Description générée automatiquement">
            <a:extLst>
              <a:ext uri="{FF2B5EF4-FFF2-40B4-BE49-F238E27FC236}">
                <a16:creationId xmlns:a16="http://schemas.microsoft.com/office/drawing/2014/main" id="{4FB98DBA-AA3F-454E-9410-13A2986F937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794" y="2036763"/>
            <a:ext cx="4762500" cy="3648075"/>
          </a:xfr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7328833-6AE8-465C-B391-649F1CC9DA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324CF5E-E5C7-4D1C-B3E2-759A41927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rte MCU 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FEE65073-89D3-46AB-97C4-28DB5710EC36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STM32 Nucleo-144 development board with STM32F429ZI MCU, supports Arduino, ST Zio and morpho connectivity 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dirty="0">
                <a:hlinkClick r:id="rId8"/>
              </a:rPr>
              <a:t>https://www.st.com/en/evaluation-tools/nucleo-f429zi.html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614547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B0E47E4-6225-4E36-9CF5-D192273EC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1AE76C9-BF94-41AF-8D02-C549D1787D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4" y="1420396"/>
            <a:ext cx="11449051" cy="1440250"/>
          </a:xfrm>
        </p:spPr>
        <p:txBody>
          <a:bodyPr/>
          <a:lstStyle/>
          <a:p>
            <a:r>
              <a:rPr lang="fr-FR" dirty="0"/>
              <a:t>Terminer slide avec alim + bus de com</a:t>
            </a:r>
          </a:p>
          <a:p>
            <a:r>
              <a:rPr lang="fr-FR" dirty="0"/>
              <a:t>Bus de com entre FPGA et MCU ?? SPI</a:t>
            </a:r>
          </a:p>
          <a:p>
            <a:r>
              <a:rPr lang="fr-FR" dirty="0" err="1"/>
              <a:t>Ref</a:t>
            </a:r>
            <a:r>
              <a:rPr lang="fr-FR" dirty="0"/>
              <a:t> connecteur HV3 </a:t>
            </a:r>
            <a:r>
              <a:rPr lang="fr-FR" dirty="0" err="1"/>
              <a:t>samtect</a:t>
            </a:r>
            <a:endParaRPr lang="fr-FR" dirty="0"/>
          </a:p>
          <a:p>
            <a:r>
              <a:rPr lang="fr-FR" dirty="0"/>
              <a:t>Un plus : sans </a:t>
            </a:r>
            <a:r>
              <a:rPr lang="fr-FR" dirty="0" err="1"/>
              <a:t>eval</a:t>
            </a:r>
            <a:r>
              <a:rPr lang="fr-FR" dirty="0"/>
              <a:t> </a:t>
            </a:r>
            <a:r>
              <a:rPr lang="fr-FR" dirty="0" err="1"/>
              <a:t>board</a:t>
            </a:r>
            <a:endParaRPr lang="fr-FR" dirty="0"/>
          </a:p>
          <a:p>
            <a:r>
              <a:rPr lang="fr-FR" dirty="0"/>
              <a:t>Up 4/5 A</a:t>
            </a:r>
          </a:p>
        </p:txBody>
      </p:sp>
    </p:spTree>
    <p:extLst>
      <p:ext uri="{BB962C8B-B14F-4D97-AF65-F5344CB8AC3E}">
        <p14:creationId xmlns:p14="http://schemas.microsoft.com/office/powerpoint/2010/main" val="33825691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3DEB53B-DFB3-4F53-9A6B-D2DEA6160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0047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23DEB53B-DFB3-4F53-9A6B-D2DEA6160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CB39F9DE-72C3-4D6D-A1B4-039344F4F5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6" y="1592263"/>
            <a:ext cx="5545138" cy="280413"/>
          </a:xfrm>
        </p:spPr>
        <p:txBody>
          <a:bodyPr/>
          <a:lstStyle/>
          <a:p>
            <a:r>
              <a:rPr lang="fr-FR" dirty="0"/>
              <a:t>TOP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226965C-8939-41A9-AF6E-53E13FEA2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D70A0F6-3125-420A-8579-27DE9CC89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CB</a:t>
            </a:r>
          </a:p>
        </p:txBody>
      </p:sp>
      <p:sp>
        <p:nvSpPr>
          <p:cNvPr id="11" name="Espace réservé du contenu 10">
            <a:extLst>
              <a:ext uri="{FF2B5EF4-FFF2-40B4-BE49-F238E27FC236}">
                <a16:creationId xmlns:a16="http://schemas.microsoft.com/office/drawing/2014/main" id="{A0EBAE8B-F231-4956-9D49-BFB7646C02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75387" y="1592263"/>
            <a:ext cx="5545137" cy="280413"/>
          </a:xfrm>
        </p:spPr>
        <p:txBody>
          <a:bodyPr/>
          <a:lstStyle/>
          <a:p>
            <a:r>
              <a:rPr lang="fr-FR" dirty="0"/>
              <a:t>BOTTO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D41B6E-5907-493E-8772-E9F0E99D76BA}"/>
              </a:ext>
            </a:extLst>
          </p:cNvPr>
          <p:cNvSpPr/>
          <p:nvPr/>
        </p:nvSpPr>
        <p:spPr>
          <a:xfrm>
            <a:off x="371475" y="2649996"/>
            <a:ext cx="5040000" cy="3240000"/>
          </a:xfrm>
          <a:prstGeom prst="rect">
            <a:avLst/>
          </a:prstGeom>
          <a:solidFill>
            <a:schemeClr val="accent3"/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4424D8-4EDD-42E6-B693-01B8E15412E8}"/>
              </a:ext>
            </a:extLst>
          </p:cNvPr>
          <p:cNvSpPr/>
          <p:nvPr/>
        </p:nvSpPr>
        <p:spPr>
          <a:xfrm>
            <a:off x="551475" y="2829996"/>
            <a:ext cx="4680000" cy="2880000"/>
          </a:xfrm>
          <a:prstGeom prst="rect">
            <a:avLst/>
          </a:prstGeom>
          <a:solidFill>
            <a:srgbClr val="006EAA"/>
          </a:solidFill>
          <a:ln>
            <a:solidFill>
              <a:srgbClr val="005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A441C9-3CE9-4A0C-AEE9-F4B5511CE012}"/>
              </a:ext>
            </a:extLst>
          </p:cNvPr>
          <p:cNvSpPr/>
          <p:nvPr/>
        </p:nvSpPr>
        <p:spPr>
          <a:xfrm>
            <a:off x="6663218" y="2649996"/>
            <a:ext cx="5040000" cy="3240000"/>
          </a:xfrm>
          <a:prstGeom prst="rect">
            <a:avLst/>
          </a:prstGeom>
          <a:solidFill>
            <a:schemeClr val="accent3"/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9DD33B-4560-4CD7-84B5-0FAC11EAD834}"/>
              </a:ext>
            </a:extLst>
          </p:cNvPr>
          <p:cNvSpPr/>
          <p:nvPr/>
        </p:nvSpPr>
        <p:spPr>
          <a:xfrm>
            <a:off x="703875" y="2982396"/>
            <a:ext cx="4320000" cy="2520000"/>
          </a:xfrm>
          <a:prstGeom prst="rect">
            <a:avLst/>
          </a:prstGeom>
          <a:solidFill>
            <a:schemeClr val="tx1">
              <a:lumMod val="50000"/>
            </a:schemeClr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ECRA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FBFEE2-D1E8-43BC-B303-D41F10C97E68}"/>
              </a:ext>
            </a:extLst>
          </p:cNvPr>
          <p:cNvSpPr/>
          <p:nvPr/>
        </p:nvSpPr>
        <p:spPr>
          <a:xfrm>
            <a:off x="5916614" y="2829996"/>
            <a:ext cx="1021081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+12 VD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F3C3D7-9ABE-4177-97D3-57A922AA680B}"/>
              </a:ext>
            </a:extLst>
          </p:cNvPr>
          <p:cNvSpPr/>
          <p:nvPr/>
        </p:nvSpPr>
        <p:spPr>
          <a:xfrm>
            <a:off x="6529345" y="3285508"/>
            <a:ext cx="239449" cy="495154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700" dirty="0">
                <a:solidFill>
                  <a:schemeClr val="bg1"/>
                </a:solidFill>
              </a:rPr>
              <a:t>ON/ O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D147D9-CF94-42F1-A6FD-B2C9001A1572}"/>
              </a:ext>
            </a:extLst>
          </p:cNvPr>
          <p:cNvSpPr/>
          <p:nvPr/>
        </p:nvSpPr>
        <p:spPr>
          <a:xfrm>
            <a:off x="6340298" y="3533085"/>
            <a:ext cx="239449" cy="152400"/>
          </a:xfrm>
          <a:prstGeom prst="rect">
            <a:avLst/>
          </a:prstGeom>
          <a:solidFill>
            <a:srgbClr val="DC230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9600F5-4F3C-40C7-8C44-E9B7BD090C81}"/>
              </a:ext>
            </a:extLst>
          </p:cNvPr>
          <p:cNvSpPr/>
          <p:nvPr/>
        </p:nvSpPr>
        <p:spPr>
          <a:xfrm rot="5400000">
            <a:off x="11347385" y="2970202"/>
            <a:ext cx="711665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A03867-B9E3-4508-8969-624ADCBE14E4}"/>
              </a:ext>
            </a:extLst>
          </p:cNvPr>
          <p:cNvSpPr/>
          <p:nvPr/>
        </p:nvSpPr>
        <p:spPr>
          <a:xfrm rot="16200000">
            <a:off x="6344542" y="4204818"/>
            <a:ext cx="568091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USB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DA046C-9E65-4FFE-8C1B-B15F12DBC2A2}"/>
              </a:ext>
            </a:extLst>
          </p:cNvPr>
          <p:cNvSpPr/>
          <p:nvPr/>
        </p:nvSpPr>
        <p:spPr>
          <a:xfrm>
            <a:off x="7214531" y="4067730"/>
            <a:ext cx="2541865" cy="1588918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Carte MCU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9F9E0D-660B-4F9E-A53E-23347593B9E5}"/>
              </a:ext>
            </a:extLst>
          </p:cNvPr>
          <p:cNvSpPr/>
          <p:nvPr/>
        </p:nvSpPr>
        <p:spPr>
          <a:xfrm rot="16200000">
            <a:off x="9989065" y="3032129"/>
            <a:ext cx="1368000" cy="100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EC9FF6-5C03-461E-A623-0A30C6B97C48}"/>
              </a:ext>
            </a:extLst>
          </p:cNvPr>
          <p:cNvSpPr/>
          <p:nvPr/>
        </p:nvSpPr>
        <p:spPr>
          <a:xfrm rot="16200000">
            <a:off x="9989065" y="4551062"/>
            <a:ext cx="1368000" cy="100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2ACFD5-4AA4-4E30-9843-75BB197A562B}"/>
              </a:ext>
            </a:extLst>
          </p:cNvPr>
          <p:cNvSpPr/>
          <p:nvPr/>
        </p:nvSpPr>
        <p:spPr>
          <a:xfrm>
            <a:off x="7214531" y="2924966"/>
            <a:ext cx="1384148" cy="1008000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Alim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371BF66-81A5-44A1-9CD1-559F7AB0B442}"/>
              </a:ext>
            </a:extLst>
          </p:cNvPr>
          <p:cNvSpPr txBox="1"/>
          <p:nvPr/>
        </p:nvSpPr>
        <p:spPr>
          <a:xfrm>
            <a:off x="4345497" y="6434356"/>
            <a:ext cx="1433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Pas à l’échelle !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829BAD-AE2B-452E-9850-6108E068FDCD}"/>
              </a:ext>
            </a:extLst>
          </p:cNvPr>
          <p:cNvSpPr/>
          <p:nvPr/>
        </p:nvSpPr>
        <p:spPr>
          <a:xfrm rot="5400000">
            <a:off x="11416500" y="3717005"/>
            <a:ext cx="573436" cy="28041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1179B7D-9EC4-4017-BBDA-83FEE27DE9D8}"/>
              </a:ext>
            </a:extLst>
          </p:cNvPr>
          <p:cNvSpPr/>
          <p:nvPr/>
        </p:nvSpPr>
        <p:spPr>
          <a:xfrm rot="5400000">
            <a:off x="11350297" y="4529207"/>
            <a:ext cx="711665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253F55-9A3F-43D7-8F62-9EDABC9897C4}"/>
              </a:ext>
            </a:extLst>
          </p:cNvPr>
          <p:cNvSpPr/>
          <p:nvPr/>
        </p:nvSpPr>
        <p:spPr>
          <a:xfrm rot="5400000">
            <a:off x="11419412" y="5276010"/>
            <a:ext cx="573436" cy="28041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43E1FB7-E85E-4472-943A-35E83E122C4B}"/>
              </a:ext>
            </a:extLst>
          </p:cNvPr>
          <p:cNvSpPr/>
          <p:nvPr/>
        </p:nvSpPr>
        <p:spPr>
          <a:xfrm>
            <a:off x="8712432" y="2924966"/>
            <a:ext cx="1137990" cy="1008000"/>
          </a:xfrm>
          <a:prstGeom prst="rect">
            <a:avLst/>
          </a:prstGeom>
          <a:solidFill>
            <a:srgbClr val="006EAA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CD</a:t>
            </a:r>
          </a:p>
          <a:p>
            <a:pPr algn="ctr"/>
            <a:r>
              <a:rPr lang="fr-FR" sz="1400" b="1" dirty="0" err="1">
                <a:solidFill>
                  <a:schemeClr val="bg1"/>
                </a:solidFill>
              </a:rPr>
              <a:t>Controleur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D6B12-E847-493F-8E6E-9546A30A80AC}"/>
              </a:ext>
            </a:extLst>
          </p:cNvPr>
          <p:cNvSpPr/>
          <p:nvPr/>
        </p:nvSpPr>
        <p:spPr>
          <a:xfrm rot="16200000">
            <a:off x="6270501" y="4987099"/>
            <a:ext cx="568091" cy="428496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fr-FR" sz="1400" dirty="0">
                <a:solidFill>
                  <a:schemeClr val="bg1"/>
                </a:solidFill>
              </a:rPr>
              <a:t>DB9</a:t>
            </a:r>
          </a:p>
        </p:txBody>
      </p:sp>
    </p:spTree>
    <p:extLst>
      <p:ext uri="{BB962C8B-B14F-4D97-AF65-F5344CB8AC3E}">
        <p14:creationId xmlns:p14="http://schemas.microsoft.com/office/powerpoint/2010/main" val="18116670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3DEB53B-DFB3-4F53-9A6B-D2DEA6160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840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23DEB53B-DFB3-4F53-9A6B-D2DEA6160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226965C-8939-41A9-AF6E-53E13FEA2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D70A0F6-3125-420A-8579-27DE9CC89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mmunicatio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371BF66-81A5-44A1-9CD1-559F7AB0B442}"/>
              </a:ext>
            </a:extLst>
          </p:cNvPr>
          <p:cNvSpPr txBox="1"/>
          <p:nvPr/>
        </p:nvSpPr>
        <p:spPr>
          <a:xfrm>
            <a:off x="4345497" y="6434356"/>
            <a:ext cx="1433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Pas à l’échelle !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A441C9-3CE9-4A0C-AEE9-F4B5511CE012}"/>
              </a:ext>
            </a:extLst>
          </p:cNvPr>
          <p:cNvSpPr/>
          <p:nvPr/>
        </p:nvSpPr>
        <p:spPr>
          <a:xfrm>
            <a:off x="2672353" y="1352550"/>
            <a:ext cx="7058249" cy="4537446"/>
          </a:xfrm>
          <a:prstGeom prst="rect">
            <a:avLst/>
          </a:prstGeom>
          <a:solidFill>
            <a:schemeClr val="accent3">
              <a:alpha val="38000"/>
            </a:schemeClr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FBFEE2-D1E8-43BC-B303-D41F10C97E68}"/>
              </a:ext>
            </a:extLst>
          </p:cNvPr>
          <p:cNvSpPr/>
          <p:nvPr/>
        </p:nvSpPr>
        <p:spPr>
          <a:xfrm>
            <a:off x="1626774" y="1604630"/>
            <a:ext cx="142996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+12 VD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F3C3D7-9ABE-4177-97D3-57A922AA680B}"/>
              </a:ext>
            </a:extLst>
          </p:cNvPr>
          <p:cNvSpPr/>
          <p:nvPr/>
        </p:nvSpPr>
        <p:spPr>
          <a:xfrm>
            <a:off x="2484871" y="2242550"/>
            <a:ext cx="335335" cy="693437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700" dirty="0">
                <a:solidFill>
                  <a:schemeClr val="bg1"/>
                </a:solidFill>
              </a:rPr>
              <a:t>ON/ O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D147D9-CF94-42F1-A6FD-B2C9001A1572}"/>
              </a:ext>
            </a:extLst>
          </p:cNvPr>
          <p:cNvSpPr/>
          <p:nvPr/>
        </p:nvSpPr>
        <p:spPr>
          <a:xfrm>
            <a:off x="2220121" y="2589269"/>
            <a:ext cx="335335" cy="213428"/>
          </a:xfrm>
          <a:prstGeom prst="rect">
            <a:avLst/>
          </a:prstGeom>
          <a:solidFill>
            <a:srgbClr val="DC230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A03867-B9E3-4508-8969-624ADCBE14E4}"/>
              </a:ext>
            </a:extLst>
          </p:cNvPr>
          <p:cNvSpPr/>
          <p:nvPr/>
        </p:nvSpPr>
        <p:spPr>
          <a:xfrm rot="16200000">
            <a:off x="2226064" y="3529995"/>
            <a:ext cx="795581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US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D6B12-E847-493F-8E6E-9546A30A80AC}"/>
              </a:ext>
            </a:extLst>
          </p:cNvPr>
          <p:cNvSpPr/>
          <p:nvPr/>
        </p:nvSpPr>
        <p:spPr>
          <a:xfrm rot="16200000">
            <a:off x="2122374" y="4939862"/>
            <a:ext cx="795581" cy="600086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fr-FR" sz="1400" dirty="0">
                <a:solidFill>
                  <a:schemeClr val="bg1"/>
                </a:solidFill>
              </a:rPr>
              <a:t>DB9</a:t>
            </a:r>
          </a:p>
        </p:txBody>
      </p:sp>
      <p:sp>
        <p:nvSpPr>
          <p:cNvPr id="4" name="Forme en L 3">
            <a:extLst>
              <a:ext uri="{FF2B5EF4-FFF2-40B4-BE49-F238E27FC236}">
                <a16:creationId xmlns:a16="http://schemas.microsoft.com/office/drawing/2014/main" id="{99CC945C-70FC-4C45-9F74-E9CD4C57840F}"/>
              </a:ext>
            </a:extLst>
          </p:cNvPr>
          <p:cNvSpPr/>
          <p:nvPr/>
        </p:nvSpPr>
        <p:spPr>
          <a:xfrm rot="10800000" flipH="1">
            <a:off x="7051575" y="2495657"/>
            <a:ext cx="993655" cy="2255902"/>
          </a:xfrm>
          <a:prstGeom prst="corner">
            <a:avLst>
              <a:gd name="adj1" fmla="val 19090"/>
              <a:gd name="adj2" fmla="val 21298"/>
            </a:avLst>
          </a:prstGeom>
          <a:solidFill>
            <a:srgbClr val="DC5F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SPI</a:t>
            </a:r>
          </a:p>
        </p:txBody>
      </p:sp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CE40AD23-138A-4465-8916-C07BE3515763}"/>
              </a:ext>
            </a:extLst>
          </p:cNvPr>
          <p:cNvSpPr/>
          <p:nvPr/>
        </p:nvSpPr>
        <p:spPr>
          <a:xfrm>
            <a:off x="6436566" y="4577855"/>
            <a:ext cx="1445940" cy="415187"/>
          </a:xfrm>
          <a:prstGeom prst="rightArrow">
            <a:avLst/>
          </a:prstGeom>
          <a:solidFill>
            <a:srgbClr val="DC5F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SPI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2ACFD5-4AA4-4E30-9843-75BB197A562B}"/>
              </a:ext>
            </a:extLst>
          </p:cNvPr>
          <p:cNvSpPr/>
          <p:nvPr/>
        </p:nvSpPr>
        <p:spPr>
          <a:xfrm>
            <a:off x="5521036" y="1597096"/>
            <a:ext cx="1360882" cy="1493915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Ali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9F9E0D-660B-4F9E-A53E-23347593B9E5}"/>
              </a:ext>
            </a:extLst>
          </p:cNvPr>
          <p:cNvSpPr/>
          <p:nvPr/>
        </p:nvSpPr>
        <p:spPr>
          <a:xfrm rot="16200000">
            <a:off x="7666428" y="1995533"/>
            <a:ext cx="1440000" cy="82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30" name="Flèche : droite 29">
            <a:extLst>
              <a:ext uri="{FF2B5EF4-FFF2-40B4-BE49-F238E27FC236}">
                <a16:creationId xmlns:a16="http://schemas.microsoft.com/office/drawing/2014/main" id="{9CA314A0-F5E2-4784-940F-D4ADD4A150AA}"/>
              </a:ext>
            </a:extLst>
          </p:cNvPr>
          <p:cNvSpPr/>
          <p:nvPr/>
        </p:nvSpPr>
        <p:spPr>
          <a:xfrm flipH="1">
            <a:off x="2844621" y="5074943"/>
            <a:ext cx="5097223" cy="415187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SPI – I2C - UART</a:t>
            </a:r>
          </a:p>
        </p:txBody>
      </p:sp>
      <p:sp>
        <p:nvSpPr>
          <p:cNvPr id="31" name="Flèche : droite 30">
            <a:extLst>
              <a:ext uri="{FF2B5EF4-FFF2-40B4-BE49-F238E27FC236}">
                <a16:creationId xmlns:a16="http://schemas.microsoft.com/office/drawing/2014/main" id="{0DA88B09-5F0D-4E98-883C-2093B5E73FD7}"/>
              </a:ext>
            </a:extLst>
          </p:cNvPr>
          <p:cNvSpPr/>
          <p:nvPr/>
        </p:nvSpPr>
        <p:spPr>
          <a:xfrm rot="10800000">
            <a:off x="8829917" y="1822121"/>
            <a:ext cx="752831" cy="415187"/>
          </a:xfrm>
          <a:prstGeom prst="rightArrow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3" name="Flèche : droite 32">
            <a:extLst>
              <a:ext uri="{FF2B5EF4-FFF2-40B4-BE49-F238E27FC236}">
                <a16:creationId xmlns:a16="http://schemas.microsoft.com/office/drawing/2014/main" id="{1CC3BDCB-EA42-42EE-B195-4D6FE85143DD}"/>
              </a:ext>
            </a:extLst>
          </p:cNvPr>
          <p:cNvSpPr/>
          <p:nvPr/>
        </p:nvSpPr>
        <p:spPr>
          <a:xfrm rot="10800000">
            <a:off x="8829917" y="2656651"/>
            <a:ext cx="752831" cy="415187"/>
          </a:xfrm>
          <a:prstGeom prst="rightArrow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9600F5-4F3C-40C7-8C44-E9B7BD090C81}"/>
              </a:ext>
            </a:extLst>
          </p:cNvPr>
          <p:cNvSpPr/>
          <p:nvPr/>
        </p:nvSpPr>
        <p:spPr>
          <a:xfrm rot="5400000">
            <a:off x="9232277" y="1800981"/>
            <a:ext cx="99664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829BAD-AE2B-452E-9850-6108E068FDCD}"/>
              </a:ext>
            </a:extLst>
          </p:cNvPr>
          <p:cNvSpPr/>
          <p:nvPr/>
        </p:nvSpPr>
        <p:spPr>
          <a:xfrm rot="5400000">
            <a:off x="9329069" y="2846839"/>
            <a:ext cx="803066" cy="39270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35" name="Flèche : droite 34">
            <a:extLst>
              <a:ext uri="{FF2B5EF4-FFF2-40B4-BE49-F238E27FC236}">
                <a16:creationId xmlns:a16="http://schemas.microsoft.com/office/drawing/2014/main" id="{201F5637-0B61-4715-B715-EE027D8C87D0}"/>
              </a:ext>
            </a:extLst>
          </p:cNvPr>
          <p:cNvSpPr/>
          <p:nvPr/>
        </p:nvSpPr>
        <p:spPr>
          <a:xfrm>
            <a:off x="8740250" y="4225092"/>
            <a:ext cx="794000" cy="415187"/>
          </a:xfrm>
          <a:prstGeom prst="rightArrow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7" name="Flèche : droite 36">
            <a:extLst>
              <a:ext uri="{FF2B5EF4-FFF2-40B4-BE49-F238E27FC236}">
                <a16:creationId xmlns:a16="http://schemas.microsoft.com/office/drawing/2014/main" id="{93433DA9-7199-4D30-BA1C-DCE58687AB21}"/>
              </a:ext>
            </a:extLst>
          </p:cNvPr>
          <p:cNvSpPr/>
          <p:nvPr/>
        </p:nvSpPr>
        <p:spPr>
          <a:xfrm>
            <a:off x="8749775" y="5059622"/>
            <a:ext cx="779397" cy="415187"/>
          </a:xfrm>
          <a:prstGeom prst="rightArrow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EC9FF6-5C03-461E-A623-0A30C6B97C48}"/>
              </a:ext>
            </a:extLst>
          </p:cNvPr>
          <p:cNvSpPr/>
          <p:nvPr/>
        </p:nvSpPr>
        <p:spPr>
          <a:xfrm rot="16200000">
            <a:off x="7591378" y="4371450"/>
            <a:ext cx="1440000" cy="82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1179B7D-9EC4-4017-BBDA-83FEE27DE9D8}"/>
              </a:ext>
            </a:extLst>
          </p:cNvPr>
          <p:cNvSpPr/>
          <p:nvPr/>
        </p:nvSpPr>
        <p:spPr>
          <a:xfrm rot="5400000">
            <a:off x="9236355" y="3984284"/>
            <a:ext cx="99664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253F55-9A3F-43D7-8F62-9EDABC9897C4}"/>
              </a:ext>
            </a:extLst>
          </p:cNvPr>
          <p:cNvSpPr/>
          <p:nvPr/>
        </p:nvSpPr>
        <p:spPr>
          <a:xfrm rot="5400000">
            <a:off x="9333147" y="5030142"/>
            <a:ext cx="803066" cy="39270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38" name="Flèche : droite 37">
            <a:extLst>
              <a:ext uri="{FF2B5EF4-FFF2-40B4-BE49-F238E27FC236}">
                <a16:creationId xmlns:a16="http://schemas.microsoft.com/office/drawing/2014/main" id="{0142DB6E-86F4-40CC-80B8-EB2F08776017}"/>
              </a:ext>
            </a:extLst>
          </p:cNvPr>
          <p:cNvSpPr/>
          <p:nvPr/>
        </p:nvSpPr>
        <p:spPr>
          <a:xfrm flipH="1">
            <a:off x="2829276" y="3552013"/>
            <a:ext cx="1589232" cy="415187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FTDI / UART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9F66BDD9-EF9A-4BC6-B3F6-0C6C94625B6B}"/>
              </a:ext>
            </a:extLst>
          </p:cNvPr>
          <p:cNvGrpSpPr/>
          <p:nvPr/>
        </p:nvGrpSpPr>
        <p:grpSpPr>
          <a:xfrm>
            <a:off x="4558460" y="2408153"/>
            <a:ext cx="451871" cy="1442760"/>
            <a:chOff x="10587440" y="1934097"/>
            <a:chExt cx="451871" cy="14427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2F86EEC-AD89-4CB1-9ABF-4763B69AF98F}"/>
                </a:ext>
              </a:extLst>
            </p:cNvPr>
            <p:cNvSpPr/>
            <p:nvPr/>
          </p:nvSpPr>
          <p:spPr>
            <a:xfrm>
              <a:off x="10587440" y="1934097"/>
              <a:ext cx="451871" cy="1440000"/>
            </a:xfrm>
            <a:prstGeom prst="rect">
              <a:avLst/>
            </a:prstGeom>
            <a:ln w="381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9" name="Connecteur droit 8">
              <a:extLst>
                <a:ext uri="{FF2B5EF4-FFF2-40B4-BE49-F238E27FC236}">
                  <a16:creationId xmlns:a16="http://schemas.microsoft.com/office/drawing/2014/main" id="{C7B7523D-4D82-4E99-94B5-41865B4DEF22}"/>
                </a:ext>
              </a:extLst>
            </p:cNvPr>
            <p:cNvCxnSpPr/>
            <p:nvPr/>
          </p:nvCxnSpPr>
          <p:spPr>
            <a:xfrm>
              <a:off x="10643660" y="1936857"/>
              <a:ext cx="0" cy="144000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38">
              <a:extLst>
                <a:ext uri="{FF2B5EF4-FFF2-40B4-BE49-F238E27FC236}">
                  <a16:creationId xmlns:a16="http://schemas.microsoft.com/office/drawing/2014/main" id="{0D8A4EA9-686E-4DA2-88DC-32C71DF7C006}"/>
                </a:ext>
              </a:extLst>
            </p:cNvPr>
            <p:cNvCxnSpPr/>
            <p:nvPr/>
          </p:nvCxnSpPr>
          <p:spPr>
            <a:xfrm>
              <a:off x="10753022" y="1936857"/>
              <a:ext cx="0" cy="1440000"/>
            </a:xfrm>
            <a:prstGeom prst="line">
              <a:avLst/>
            </a:prstGeom>
            <a:ln w="19050">
              <a:solidFill>
                <a:srgbClr val="FFC3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eur droit 40">
              <a:extLst>
                <a:ext uri="{FF2B5EF4-FFF2-40B4-BE49-F238E27FC236}">
                  <a16:creationId xmlns:a16="http://schemas.microsoft.com/office/drawing/2014/main" id="{86D58DD8-C7EE-4830-80E6-E0A5D728E818}"/>
                </a:ext>
              </a:extLst>
            </p:cNvPr>
            <p:cNvCxnSpPr/>
            <p:nvPr/>
          </p:nvCxnSpPr>
          <p:spPr>
            <a:xfrm>
              <a:off x="10935292" y="1936857"/>
              <a:ext cx="0" cy="1440000"/>
            </a:xfrm>
            <a:prstGeom prst="line">
              <a:avLst/>
            </a:prstGeom>
            <a:ln w="19050">
              <a:solidFill>
                <a:schemeClr val="accent6">
                  <a:lumMod val="90000"/>
                  <a:lumOff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42">
              <a:extLst>
                <a:ext uri="{FF2B5EF4-FFF2-40B4-BE49-F238E27FC236}">
                  <a16:creationId xmlns:a16="http://schemas.microsoft.com/office/drawing/2014/main" id="{11BF0AA4-2C17-4B82-BE99-44DC2B004A53}"/>
                </a:ext>
              </a:extLst>
            </p:cNvPr>
            <p:cNvCxnSpPr/>
            <p:nvPr/>
          </p:nvCxnSpPr>
          <p:spPr>
            <a:xfrm>
              <a:off x="10680114" y="1936857"/>
              <a:ext cx="0" cy="144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322EEB32-9F13-4064-B9B6-02A658502170}"/>
                </a:ext>
              </a:extLst>
            </p:cNvPr>
            <p:cNvCxnSpPr/>
            <p:nvPr/>
          </p:nvCxnSpPr>
          <p:spPr>
            <a:xfrm>
              <a:off x="10789476" y="1936857"/>
              <a:ext cx="0" cy="144000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eur droit 44">
              <a:extLst>
                <a:ext uri="{FF2B5EF4-FFF2-40B4-BE49-F238E27FC236}">
                  <a16:creationId xmlns:a16="http://schemas.microsoft.com/office/drawing/2014/main" id="{A0244A29-AA13-4108-AD2C-024AA9CF0036}"/>
                </a:ext>
              </a:extLst>
            </p:cNvPr>
            <p:cNvCxnSpPr/>
            <p:nvPr/>
          </p:nvCxnSpPr>
          <p:spPr>
            <a:xfrm>
              <a:off x="10716568" y="1936857"/>
              <a:ext cx="0" cy="1440000"/>
            </a:xfrm>
            <a:prstGeom prst="line">
              <a:avLst/>
            </a:prstGeom>
            <a:ln w="19050">
              <a:solidFill>
                <a:srgbClr val="00A5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necteur droit 45">
              <a:extLst>
                <a:ext uri="{FF2B5EF4-FFF2-40B4-BE49-F238E27FC236}">
                  <a16:creationId xmlns:a16="http://schemas.microsoft.com/office/drawing/2014/main" id="{A3F48E83-41EA-4E0D-81EC-36DB800B705A}"/>
                </a:ext>
              </a:extLst>
            </p:cNvPr>
            <p:cNvCxnSpPr/>
            <p:nvPr/>
          </p:nvCxnSpPr>
          <p:spPr>
            <a:xfrm>
              <a:off x="10825930" y="1936857"/>
              <a:ext cx="0" cy="1440000"/>
            </a:xfrm>
            <a:prstGeom prst="line">
              <a:avLst/>
            </a:prstGeom>
            <a:ln w="19050">
              <a:solidFill>
                <a:srgbClr val="DC5F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eur droit 46">
              <a:extLst>
                <a:ext uri="{FF2B5EF4-FFF2-40B4-BE49-F238E27FC236}">
                  <a16:creationId xmlns:a16="http://schemas.microsoft.com/office/drawing/2014/main" id="{D6C712D3-29E7-4144-8161-FD322703328F}"/>
                </a:ext>
              </a:extLst>
            </p:cNvPr>
            <p:cNvCxnSpPr/>
            <p:nvPr/>
          </p:nvCxnSpPr>
          <p:spPr>
            <a:xfrm>
              <a:off x="10971745" y="1936857"/>
              <a:ext cx="0" cy="144000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47">
              <a:extLst>
                <a:ext uri="{FF2B5EF4-FFF2-40B4-BE49-F238E27FC236}">
                  <a16:creationId xmlns:a16="http://schemas.microsoft.com/office/drawing/2014/main" id="{68F8ABD2-2A17-480B-8068-5520870A21B8}"/>
                </a:ext>
              </a:extLst>
            </p:cNvPr>
            <p:cNvCxnSpPr/>
            <p:nvPr/>
          </p:nvCxnSpPr>
          <p:spPr>
            <a:xfrm>
              <a:off x="10862384" y="1936857"/>
              <a:ext cx="0" cy="144000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eur droit 48">
              <a:extLst>
                <a:ext uri="{FF2B5EF4-FFF2-40B4-BE49-F238E27FC236}">
                  <a16:creationId xmlns:a16="http://schemas.microsoft.com/office/drawing/2014/main" id="{8D3517ED-64F6-4AFC-9C37-57183850FA6C}"/>
                </a:ext>
              </a:extLst>
            </p:cNvPr>
            <p:cNvCxnSpPr/>
            <p:nvPr/>
          </p:nvCxnSpPr>
          <p:spPr>
            <a:xfrm>
              <a:off x="10898838" y="1936857"/>
              <a:ext cx="0" cy="144000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343E1FB7-E85E-4472-943A-35E83E122C4B}"/>
              </a:ext>
            </a:extLst>
          </p:cNvPr>
          <p:cNvSpPr/>
          <p:nvPr/>
        </p:nvSpPr>
        <p:spPr>
          <a:xfrm>
            <a:off x="3512380" y="1882965"/>
            <a:ext cx="1593694" cy="891708"/>
          </a:xfrm>
          <a:prstGeom prst="rect">
            <a:avLst/>
          </a:prstGeom>
          <a:solidFill>
            <a:srgbClr val="006EAA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CD</a:t>
            </a:r>
          </a:p>
          <a:p>
            <a:pPr algn="ctr"/>
            <a:r>
              <a:rPr lang="fr-FR" sz="1400" b="1" dirty="0" err="1">
                <a:solidFill>
                  <a:schemeClr val="bg1"/>
                </a:solidFill>
              </a:rPr>
              <a:t>Controleur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DA046C-9E65-4FFE-8C1B-B15F12DBC2A2}"/>
              </a:ext>
            </a:extLst>
          </p:cNvPr>
          <p:cNvSpPr/>
          <p:nvPr/>
        </p:nvSpPr>
        <p:spPr>
          <a:xfrm>
            <a:off x="4313305" y="3594580"/>
            <a:ext cx="2123260" cy="1363719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Carte MCU</a:t>
            </a:r>
          </a:p>
        </p:txBody>
      </p:sp>
    </p:spTree>
    <p:extLst>
      <p:ext uri="{BB962C8B-B14F-4D97-AF65-F5344CB8AC3E}">
        <p14:creationId xmlns:p14="http://schemas.microsoft.com/office/powerpoint/2010/main" val="3759160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3DEB53B-DFB3-4F53-9A6B-D2DEA6160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46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23DEB53B-DFB3-4F53-9A6B-D2DEA6160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226965C-8939-41A9-AF6E-53E13FEA2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D70A0F6-3125-420A-8579-27DE9CC89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limentatio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371BF66-81A5-44A1-9CD1-559F7AB0B442}"/>
              </a:ext>
            </a:extLst>
          </p:cNvPr>
          <p:cNvSpPr txBox="1"/>
          <p:nvPr/>
        </p:nvSpPr>
        <p:spPr>
          <a:xfrm>
            <a:off x="9760259" y="6550223"/>
            <a:ext cx="1433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Pas à l’échelle !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A441C9-3CE9-4A0C-AEE9-F4B5511CE012}"/>
              </a:ext>
            </a:extLst>
          </p:cNvPr>
          <p:cNvSpPr/>
          <p:nvPr/>
        </p:nvSpPr>
        <p:spPr>
          <a:xfrm>
            <a:off x="2249778" y="2060473"/>
            <a:ext cx="7058249" cy="4537446"/>
          </a:xfrm>
          <a:prstGeom prst="rect">
            <a:avLst/>
          </a:prstGeom>
          <a:solidFill>
            <a:schemeClr val="accent3">
              <a:alpha val="38000"/>
            </a:schemeClr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FBFEE2-D1E8-43BC-B303-D41F10C97E68}"/>
              </a:ext>
            </a:extLst>
          </p:cNvPr>
          <p:cNvSpPr/>
          <p:nvPr/>
        </p:nvSpPr>
        <p:spPr>
          <a:xfrm>
            <a:off x="1204199" y="2312553"/>
            <a:ext cx="142996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+12 VD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F3C3D7-9ABE-4177-97D3-57A922AA680B}"/>
              </a:ext>
            </a:extLst>
          </p:cNvPr>
          <p:cNvSpPr/>
          <p:nvPr/>
        </p:nvSpPr>
        <p:spPr>
          <a:xfrm>
            <a:off x="2062296" y="2950473"/>
            <a:ext cx="335335" cy="693437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700" dirty="0">
                <a:solidFill>
                  <a:schemeClr val="bg1"/>
                </a:solidFill>
              </a:rPr>
              <a:t>ON/ O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D147D9-CF94-42F1-A6FD-B2C9001A1572}"/>
              </a:ext>
            </a:extLst>
          </p:cNvPr>
          <p:cNvSpPr/>
          <p:nvPr/>
        </p:nvSpPr>
        <p:spPr>
          <a:xfrm>
            <a:off x="1797546" y="3297192"/>
            <a:ext cx="335335" cy="213428"/>
          </a:xfrm>
          <a:prstGeom prst="rect">
            <a:avLst/>
          </a:prstGeom>
          <a:solidFill>
            <a:srgbClr val="DC230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A03867-B9E3-4508-8969-624ADCBE14E4}"/>
              </a:ext>
            </a:extLst>
          </p:cNvPr>
          <p:cNvSpPr/>
          <p:nvPr/>
        </p:nvSpPr>
        <p:spPr>
          <a:xfrm rot="16200000">
            <a:off x="1803489" y="4237918"/>
            <a:ext cx="795581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US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D6B12-E847-493F-8E6E-9546A30A80AC}"/>
              </a:ext>
            </a:extLst>
          </p:cNvPr>
          <p:cNvSpPr/>
          <p:nvPr/>
        </p:nvSpPr>
        <p:spPr>
          <a:xfrm rot="16200000">
            <a:off x="1699799" y="5647785"/>
            <a:ext cx="795581" cy="600086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fr-FR" sz="1400" dirty="0">
                <a:solidFill>
                  <a:schemeClr val="bg1"/>
                </a:solidFill>
              </a:rPr>
              <a:t>DB9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9F9E0D-660B-4F9E-A53E-23347593B9E5}"/>
              </a:ext>
            </a:extLst>
          </p:cNvPr>
          <p:cNvSpPr/>
          <p:nvPr/>
        </p:nvSpPr>
        <p:spPr>
          <a:xfrm rot="16200000">
            <a:off x="7404731" y="2718801"/>
            <a:ext cx="1440000" cy="82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30" name="Flèche : droite 29">
            <a:extLst>
              <a:ext uri="{FF2B5EF4-FFF2-40B4-BE49-F238E27FC236}">
                <a16:creationId xmlns:a16="http://schemas.microsoft.com/office/drawing/2014/main" id="{9CA314A0-F5E2-4784-940F-D4ADD4A150AA}"/>
              </a:ext>
            </a:extLst>
          </p:cNvPr>
          <p:cNvSpPr/>
          <p:nvPr/>
        </p:nvSpPr>
        <p:spPr>
          <a:xfrm>
            <a:off x="6438357" y="2788393"/>
            <a:ext cx="1272374" cy="415187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9600F5-4F3C-40C7-8C44-E9B7BD090C81}"/>
              </a:ext>
            </a:extLst>
          </p:cNvPr>
          <p:cNvSpPr/>
          <p:nvPr/>
        </p:nvSpPr>
        <p:spPr>
          <a:xfrm rot="5400000">
            <a:off x="8809702" y="2508904"/>
            <a:ext cx="99664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829BAD-AE2B-452E-9850-6108E068FDCD}"/>
              </a:ext>
            </a:extLst>
          </p:cNvPr>
          <p:cNvSpPr/>
          <p:nvPr/>
        </p:nvSpPr>
        <p:spPr>
          <a:xfrm rot="5400000">
            <a:off x="8906494" y="3554762"/>
            <a:ext cx="803066" cy="39270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EC9FF6-5C03-461E-A623-0A30C6B97C48}"/>
              </a:ext>
            </a:extLst>
          </p:cNvPr>
          <p:cNvSpPr/>
          <p:nvPr/>
        </p:nvSpPr>
        <p:spPr>
          <a:xfrm rot="16200000">
            <a:off x="7405523" y="5011754"/>
            <a:ext cx="1440000" cy="82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1179B7D-9EC4-4017-BBDA-83FEE27DE9D8}"/>
              </a:ext>
            </a:extLst>
          </p:cNvPr>
          <p:cNvSpPr/>
          <p:nvPr/>
        </p:nvSpPr>
        <p:spPr>
          <a:xfrm rot="5400000">
            <a:off x="8813780" y="4692207"/>
            <a:ext cx="99664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253F55-9A3F-43D7-8F62-9EDABC9897C4}"/>
              </a:ext>
            </a:extLst>
          </p:cNvPr>
          <p:cNvSpPr/>
          <p:nvPr/>
        </p:nvSpPr>
        <p:spPr>
          <a:xfrm rot="5400000">
            <a:off x="8910572" y="5738065"/>
            <a:ext cx="803066" cy="39270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12" name="Flèche : angle droit 11">
            <a:extLst>
              <a:ext uri="{FF2B5EF4-FFF2-40B4-BE49-F238E27FC236}">
                <a16:creationId xmlns:a16="http://schemas.microsoft.com/office/drawing/2014/main" id="{4B52B259-EF70-4125-8614-578481762851}"/>
              </a:ext>
            </a:extLst>
          </p:cNvPr>
          <p:cNvSpPr/>
          <p:nvPr/>
        </p:nvSpPr>
        <p:spPr>
          <a:xfrm rot="5400000">
            <a:off x="6081359" y="3876414"/>
            <a:ext cx="1726021" cy="1532721"/>
          </a:xfrm>
          <a:prstGeom prst="bentUpArrow">
            <a:avLst>
              <a:gd name="adj1" fmla="val 17808"/>
              <a:gd name="adj2" fmla="val 16263"/>
              <a:gd name="adj3" fmla="val 19175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grpSp>
        <p:nvGrpSpPr>
          <p:cNvPr id="50" name="Groupe 49">
            <a:extLst>
              <a:ext uri="{FF2B5EF4-FFF2-40B4-BE49-F238E27FC236}">
                <a16:creationId xmlns:a16="http://schemas.microsoft.com/office/drawing/2014/main" id="{49034100-ED2F-406D-891A-62FE25D794B2}"/>
              </a:ext>
            </a:extLst>
          </p:cNvPr>
          <p:cNvGrpSpPr/>
          <p:nvPr/>
        </p:nvGrpSpPr>
        <p:grpSpPr>
          <a:xfrm>
            <a:off x="9644269" y="1078348"/>
            <a:ext cx="1789053" cy="1059776"/>
            <a:chOff x="551475" y="4650220"/>
            <a:chExt cx="1789053" cy="1059776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EBD52EF-441C-4FB7-885F-D2B7435D5015}"/>
                </a:ext>
              </a:extLst>
            </p:cNvPr>
            <p:cNvSpPr/>
            <p:nvPr/>
          </p:nvSpPr>
          <p:spPr>
            <a:xfrm>
              <a:off x="551475" y="4650220"/>
              <a:ext cx="1789053" cy="1059776"/>
            </a:xfrm>
            <a:prstGeom prst="rect">
              <a:avLst/>
            </a:prstGeom>
            <a:solidFill>
              <a:srgbClr val="006EAA"/>
            </a:solidFill>
            <a:ln>
              <a:solidFill>
                <a:srgbClr val="0050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9E6B687-6862-477B-B8A5-11A30CBC198A}"/>
                </a:ext>
              </a:extLst>
            </p:cNvPr>
            <p:cNvSpPr/>
            <p:nvPr/>
          </p:nvSpPr>
          <p:spPr>
            <a:xfrm>
              <a:off x="618313" y="4716456"/>
              <a:ext cx="1651434" cy="927304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b="1" dirty="0">
                  <a:solidFill>
                    <a:schemeClr val="bg1"/>
                  </a:solidFill>
                </a:rPr>
                <a:t>ECRAN</a:t>
              </a:r>
            </a:p>
          </p:txBody>
        </p:sp>
      </p:grpSp>
      <p:sp>
        <p:nvSpPr>
          <p:cNvPr id="53" name="Flèche : angle droit 52">
            <a:extLst>
              <a:ext uri="{FF2B5EF4-FFF2-40B4-BE49-F238E27FC236}">
                <a16:creationId xmlns:a16="http://schemas.microsoft.com/office/drawing/2014/main" id="{073FFE4E-6E48-47CB-8152-88ECF1D33EAF}"/>
              </a:ext>
            </a:extLst>
          </p:cNvPr>
          <p:cNvSpPr/>
          <p:nvPr/>
        </p:nvSpPr>
        <p:spPr>
          <a:xfrm rot="5400000" flipH="1">
            <a:off x="7170503" y="-60965"/>
            <a:ext cx="1334452" cy="3613079"/>
          </a:xfrm>
          <a:prstGeom prst="bentUpArrow">
            <a:avLst>
              <a:gd name="adj1" fmla="val 17808"/>
              <a:gd name="adj2" fmla="val 16263"/>
              <a:gd name="adj3" fmla="val 19175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56" name="Flèche : angle droit 55">
            <a:extLst>
              <a:ext uri="{FF2B5EF4-FFF2-40B4-BE49-F238E27FC236}">
                <a16:creationId xmlns:a16="http://schemas.microsoft.com/office/drawing/2014/main" id="{D4EB09C5-A142-4C39-8246-BAB04574C147}"/>
              </a:ext>
            </a:extLst>
          </p:cNvPr>
          <p:cNvSpPr/>
          <p:nvPr/>
        </p:nvSpPr>
        <p:spPr>
          <a:xfrm rot="10800000">
            <a:off x="3789798" y="2305018"/>
            <a:ext cx="1429971" cy="552481"/>
          </a:xfrm>
          <a:prstGeom prst="bentUpArrow">
            <a:avLst>
              <a:gd name="adj1" fmla="val 35595"/>
              <a:gd name="adj2" fmla="val 26773"/>
              <a:gd name="adj3" fmla="val 32111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ECA5731-BDA7-41C8-A8CF-8F16739A6C07}"/>
              </a:ext>
            </a:extLst>
          </p:cNvPr>
          <p:cNvSpPr/>
          <p:nvPr/>
        </p:nvSpPr>
        <p:spPr>
          <a:xfrm>
            <a:off x="3954864" y="2255107"/>
            <a:ext cx="10679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43E1FB7-E85E-4472-943A-35E83E122C4B}"/>
              </a:ext>
            </a:extLst>
          </p:cNvPr>
          <p:cNvSpPr/>
          <p:nvPr/>
        </p:nvSpPr>
        <p:spPr>
          <a:xfrm>
            <a:off x="3100635" y="2859405"/>
            <a:ext cx="1507369" cy="891708"/>
          </a:xfrm>
          <a:prstGeom prst="rect">
            <a:avLst/>
          </a:prstGeom>
          <a:solidFill>
            <a:srgbClr val="006EAA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CD</a:t>
            </a:r>
          </a:p>
          <a:p>
            <a:pPr algn="ctr"/>
            <a:r>
              <a:rPr lang="fr-FR" sz="1400" b="1" dirty="0" err="1">
                <a:solidFill>
                  <a:schemeClr val="bg1"/>
                </a:solidFill>
              </a:rPr>
              <a:t>Controleur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57" name="Flèche : droite 56">
            <a:extLst>
              <a:ext uri="{FF2B5EF4-FFF2-40B4-BE49-F238E27FC236}">
                <a16:creationId xmlns:a16="http://schemas.microsoft.com/office/drawing/2014/main" id="{8804D92C-3741-477D-9E79-B6BB639D780C}"/>
              </a:ext>
            </a:extLst>
          </p:cNvPr>
          <p:cNvSpPr/>
          <p:nvPr/>
        </p:nvSpPr>
        <p:spPr>
          <a:xfrm rot="5400000">
            <a:off x="4946095" y="4110615"/>
            <a:ext cx="1212439" cy="415187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DA046C-9E65-4FFE-8C1B-B15F12DBC2A2}"/>
              </a:ext>
            </a:extLst>
          </p:cNvPr>
          <p:cNvSpPr/>
          <p:nvPr/>
        </p:nvSpPr>
        <p:spPr>
          <a:xfrm>
            <a:off x="3854320" y="4924428"/>
            <a:ext cx="2123260" cy="1363719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Carte MCU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2ACFD5-4AA4-4E30-9843-75BB197A562B}"/>
              </a:ext>
            </a:extLst>
          </p:cNvPr>
          <p:cNvSpPr/>
          <p:nvPr/>
        </p:nvSpPr>
        <p:spPr>
          <a:xfrm>
            <a:off x="5098461" y="2305019"/>
            <a:ext cx="1360882" cy="1493915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Alim</a:t>
            </a:r>
          </a:p>
        </p:txBody>
      </p:sp>
    </p:spTree>
    <p:extLst>
      <p:ext uri="{BB962C8B-B14F-4D97-AF65-F5344CB8AC3E}">
        <p14:creationId xmlns:p14="http://schemas.microsoft.com/office/powerpoint/2010/main" val="1751746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6877B1A1-1A1A-4C0E-A88F-8C76E5ADCA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3527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6877B1A1-1A1A-4C0E-A88F-8C76E5ADC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9" name="Connecteur droit 58">
            <a:extLst>
              <a:ext uri="{FF2B5EF4-FFF2-40B4-BE49-F238E27FC236}">
                <a16:creationId xmlns:a16="http://schemas.microsoft.com/office/drawing/2014/main" id="{BC358090-3C8E-40CA-90B4-33766AB45E52}"/>
              </a:ext>
            </a:extLst>
          </p:cNvPr>
          <p:cNvCxnSpPr>
            <a:cxnSpLocks/>
          </p:cNvCxnSpPr>
          <p:nvPr/>
        </p:nvCxnSpPr>
        <p:spPr>
          <a:xfrm>
            <a:off x="5355461" y="4317022"/>
            <a:ext cx="325505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59">
            <a:extLst>
              <a:ext uri="{FF2B5EF4-FFF2-40B4-BE49-F238E27FC236}">
                <a16:creationId xmlns:a16="http://schemas.microsoft.com/office/drawing/2014/main" id="{C834FBED-B129-4D06-A045-7C5A6CED75CB}"/>
              </a:ext>
            </a:extLst>
          </p:cNvPr>
          <p:cNvCxnSpPr>
            <a:cxnSpLocks/>
          </p:cNvCxnSpPr>
          <p:nvPr/>
        </p:nvCxnSpPr>
        <p:spPr>
          <a:xfrm>
            <a:off x="5275188" y="4449769"/>
            <a:ext cx="3186646" cy="12527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109FAADB-2847-4F0C-B2BC-4191E91DF3CD}"/>
              </a:ext>
            </a:extLst>
          </p:cNvPr>
          <p:cNvCxnSpPr>
            <a:cxnSpLocks/>
          </p:cNvCxnSpPr>
          <p:nvPr/>
        </p:nvCxnSpPr>
        <p:spPr>
          <a:xfrm flipH="1" flipV="1">
            <a:off x="8588963" y="4298865"/>
            <a:ext cx="0" cy="531652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61">
            <a:extLst>
              <a:ext uri="{FF2B5EF4-FFF2-40B4-BE49-F238E27FC236}">
                <a16:creationId xmlns:a16="http://schemas.microsoft.com/office/drawing/2014/main" id="{C5BCC5BD-34C5-48E8-88A7-6C82B4393506}"/>
              </a:ext>
            </a:extLst>
          </p:cNvPr>
          <p:cNvCxnSpPr>
            <a:cxnSpLocks/>
          </p:cNvCxnSpPr>
          <p:nvPr/>
        </p:nvCxnSpPr>
        <p:spPr>
          <a:xfrm flipH="1" flipV="1">
            <a:off x="8446350" y="4451246"/>
            <a:ext cx="0" cy="531652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7EE3E603-1C4F-4115-B51C-9331508A3212}"/>
              </a:ext>
            </a:extLst>
          </p:cNvPr>
          <p:cNvCxnSpPr>
            <a:cxnSpLocks/>
          </p:cNvCxnSpPr>
          <p:nvPr/>
        </p:nvCxnSpPr>
        <p:spPr>
          <a:xfrm>
            <a:off x="4427463" y="1727484"/>
            <a:ext cx="5539443" cy="0"/>
          </a:xfrm>
          <a:prstGeom prst="line">
            <a:avLst/>
          </a:prstGeom>
          <a:ln w="38100">
            <a:solidFill>
              <a:srgbClr val="00A5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4F5E1B8B-0226-43FC-9195-BF4F80146643}"/>
              </a:ext>
            </a:extLst>
          </p:cNvPr>
          <p:cNvCxnSpPr>
            <a:cxnSpLocks/>
          </p:cNvCxnSpPr>
          <p:nvPr/>
        </p:nvCxnSpPr>
        <p:spPr>
          <a:xfrm>
            <a:off x="4170288" y="1872758"/>
            <a:ext cx="5628891" cy="0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2CC3F919-0BEA-40E8-86DC-E0EF8D096A71}"/>
              </a:ext>
            </a:extLst>
          </p:cNvPr>
          <p:cNvCxnSpPr>
            <a:cxnSpLocks/>
          </p:cNvCxnSpPr>
          <p:nvPr/>
        </p:nvCxnSpPr>
        <p:spPr>
          <a:xfrm flipH="1">
            <a:off x="1274688" y="1919246"/>
            <a:ext cx="3009552" cy="5"/>
          </a:xfrm>
          <a:prstGeom prst="line">
            <a:avLst/>
          </a:prstGeom>
          <a:ln w="38100">
            <a:solidFill>
              <a:srgbClr val="DC23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DC47EFA0-B5F2-422A-BFE7-61205F2583A9}"/>
              </a:ext>
            </a:extLst>
          </p:cNvPr>
          <p:cNvCxnSpPr>
            <a:cxnSpLocks/>
          </p:cNvCxnSpPr>
          <p:nvPr/>
        </p:nvCxnSpPr>
        <p:spPr>
          <a:xfrm flipH="1">
            <a:off x="1274688" y="2053469"/>
            <a:ext cx="3009552" cy="0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 : en angle 20">
            <a:extLst>
              <a:ext uri="{FF2B5EF4-FFF2-40B4-BE49-F238E27FC236}">
                <a16:creationId xmlns:a16="http://schemas.microsoft.com/office/drawing/2014/main" id="{C458AC85-D697-4113-98B5-4037F08C6095}"/>
              </a:ext>
            </a:extLst>
          </p:cNvPr>
          <p:cNvCxnSpPr>
            <a:cxnSpLocks/>
          </p:cNvCxnSpPr>
          <p:nvPr/>
        </p:nvCxnSpPr>
        <p:spPr>
          <a:xfrm rot="10800000">
            <a:off x="2967171" y="1919251"/>
            <a:ext cx="2431404" cy="2397771"/>
          </a:xfrm>
          <a:prstGeom prst="bentConnector3">
            <a:avLst>
              <a:gd name="adj1" fmla="val 72427"/>
            </a:avLst>
          </a:prstGeom>
          <a:ln w="38100">
            <a:solidFill>
              <a:srgbClr val="DC23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 : en angle 22">
            <a:extLst>
              <a:ext uri="{FF2B5EF4-FFF2-40B4-BE49-F238E27FC236}">
                <a16:creationId xmlns:a16="http://schemas.microsoft.com/office/drawing/2014/main" id="{F2519A59-6F5E-4B70-9523-85F818AE29BC}"/>
              </a:ext>
            </a:extLst>
          </p:cNvPr>
          <p:cNvCxnSpPr>
            <a:cxnSpLocks/>
          </p:cNvCxnSpPr>
          <p:nvPr/>
        </p:nvCxnSpPr>
        <p:spPr>
          <a:xfrm rot="10800000">
            <a:off x="2874891" y="2055839"/>
            <a:ext cx="2520187" cy="2440070"/>
          </a:xfrm>
          <a:prstGeom prst="bentConnector3">
            <a:avLst>
              <a:gd name="adj1" fmla="val 76297"/>
            </a:avLst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978A3C7-7FF8-42AD-A086-2B6EEF0BE6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BE58BC-8CE9-4E6A-BC33-C4297FEBE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liment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209772-981A-4BA1-8A41-F581F440AEEB}"/>
              </a:ext>
            </a:extLst>
          </p:cNvPr>
          <p:cNvSpPr/>
          <p:nvPr/>
        </p:nvSpPr>
        <p:spPr>
          <a:xfrm>
            <a:off x="4078008" y="1642410"/>
            <a:ext cx="1426130" cy="914400"/>
          </a:xfrm>
          <a:prstGeom prst="rect">
            <a:avLst/>
          </a:prstGeom>
          <a:solidFill>
            <a:schemeClr val="bg1"/>
          </a:solidFill>
          <a:ln w="76200">
            <a:solidFill>
              <a:srgbClr val="00A5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>
                <a:solidFill>
                  <a:schemeClr val="tx1"/>
                </a:solidFill>
              </a:rPr>
              <a:t>Regulateur</a:t>
            </a:r>
            <a:endParaRPr lang="fr-FR" sz="1400" dirty="0">
              <a:solidFill>
                <a:schemeClr val="tx1"/>
              </a:solidFill>
            </a:endParaRPr>
          </a:p>
          <a:p>
            <a:pPr algn="ctr"/>
            <a:r>
              <a:rPr lang="fr-FR" sz="1400" dirty="0">
                <a:solidFill>
                  <a:schemeClr val="tx1"/>
                </a:solidFill>
              </a:rPr>
              <a:t>+ 3.3 V</a:t>
            </a:r>
          </a:p>
          <a:p>
            <a:pPr algn="ctr"/>
            <a:r>
              <a:rPr lang="fr-FR" sz="1400" dirty="0">
                <a:solidFill>
                  <a:schemeClr val="tx1"/>
                </a:solidFill>
              </a:rPr>
              <a:t>1.5 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FBF1BD-D642-4CB6-A356-D458BC87D034}"/>
              </a:ext>
            </a:extLst>
          </p:cNvPr>
          <p:cNvSpPr/>
          <p:nvPr/>
        </p:nvSpPr>
        <p:spPr>
          <a:xfrm>
            <a:off x="4078008" y="3992569"/>
            <a:ext cx="1426130" cy="91440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 err="1">
                <a:solidFill>
                  <a:schemeClr val="tx1"/>
                </a:solidFill>
              </a:rPr>
              <a:t>Regulateur</a:t>
            </a:r>
            <a:endParaRPr lang="fr-FR" sz="1400" dirty="0">
              <a:solidFill>
                <a:schemeClr val="tx1"/>
              </a:solidFill>
            </a:endParaRPr>
          </a:p>
          <a:p>
            <a:pPr algn="ctr"/>
            <a:r>
              <a:rPr lang="fr-FR" sz="1400" dirty="0">
                <a:solidFill>
                  <a:schemeClr val="tx1"/>
                </a:solidFill>
              </a:rPr>
              <a:t>+ 3.3 V</a:t>
            </a:r>
          </a:p>
          <a:p>
            <a:pPr algn="ctr"/>
            <a:r>
              <a:rPr lang="fr-FR" sz="1400" dirty="0">
                <a:solidFill>
                  <a:schemeClr val="tx1"/>
                </a:solidFill>
              </a:rPr>
              <a:t>1.5 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665125-B724-452D-8876-3DCF98254D85}"/>
              </a:ext>
            </a:extLst>
          </p:cNvPr>
          <p:cNvSpPr/>
          <p:nvPr/>
        </p:nvSpPr>
        <p:spPr>
          <a:xfrm>
            <a:off x="223319" y="1828152"/>
            <a:ext cx="914400" cy="3187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+12 VDC</a:t>
            </a:r>
          </a:p>
        </p:txBody>
      </p: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B7FD2E53-4691-4013-993B-3BBA015751DA}"/>
              </a:ext>
            </a:extLst>
          </p:cNvPr>
          <p:cNvCxnSpPr>
            <a:cxnSpLocks/>
          </p:cNvCxnSpPr>
          <p:nvPr/>
        </p:nvCxnSpPr>
        <p:spPr>
          <a:xfrm flipH="1" flipV="1">
            <a:off x="9945358" y="1709327"/>
            <a:ext cx="0" cy="531652"/>
          </a:xfrm>
          <a:prstGeom prst="line">
            <a:avLst/>
          </a:prstGeom>
          <a:ln w="38100">
            <a:solidFill>
              <a:srgbClr val="00A5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0C36DCE1-F557-44BB-84EB-06A2298FF0B0}"/>
              </a:ext>
            </a:extLst>
          </p:cNvPr>
          <p:cNvCxnSpPr>
            <a:cxnSpLocks/>
          </p:cNvCxnSpPr>
          <p:nvPr/>
        </p:nvCxnSpPr>
        <p:spPr>
          <a:xfrm flipH="1" flipV="1">
            <a:off x="9802745" y="1861708"/>
            <a:ext cx="0" cy="531652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9B7C1C65-2605-4563-9F58-700B9C7AE1BA}"/>
              </a:ext>
            </a:extLst>
          </p:cNvPr>
          <p:cNvCxnSpPr>
            <a:cxnSpLocks/>
          </p:cNvCxnSpPr>
          <p:nvPr/>
        </p:nvCxnSpPr>
        <p:spPr>
          <a:xfrm flipH="1" flipV="1">
            <a:off x="7983732" y="1721717"/>
            <a:ext cx="0" cy="531652"/>
          </a:xfrm>
          <a:prstGeom prst="line">
            <a:avLst/>
          </a:prstGeom>
          <a:ln w="38100">
            <a:solidFill>
              <a:srgbClr val="00A5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7C8B6A5B-4712-4079-B012-760B43129A0C}"/>
              </a:ext>
            </a:extLst>
          </p:cNvPr>
          <p:cNvCxnSpPr>
            <a:cxnSpLocks/>
          </p:cNvCxnSpPr>
          <p:nvPr/>
        </p:nvCxnSpPr>
        <p:spPr>
          <a:xfrm flipH="1" flipV="1">
            <a:off x="7841119" y="1874098"/>
            <a:ext cx="0" cy="531652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08C7D04A-8ACD-4330-B74A-BC5086088735}"/>
              </a:ext>
            </a:extLst>
          </p:cNvPr>
          <p:cNvCxnSpPr>
            <a:cxnSpLocks/>
          </p:cNvCxnSpPr>
          <p:nvPr/>
        </p:nvCxnSpPr>
        <p:spPr>
          <a:xfrm flipH="1" flipV="1">
            <a:off x="6616334" y="1709327"/>
            <a:ext cx="0" cy="531652"/>
          </a:xfrm>
          <a:prstGeom prst="line">
            <a:avLst/>
          </a:prstGeom>
          <a:ln w="38100">
            <a:solidFill>
              <a:srgbClr val="00A5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976ECE2D-612E-4F11-984C-09634ADC6B1E}"/>
              </a:ext>
            </a:extLst>
          </p:cNvPr>
          <p:cNvCxnSpPr>
            <a:cxnSpLocks/>
          </p:cNvCxnSpPr>
          <p:nvPr/>
        </p:nvCxnSpPr>
        <p:spPr>
          <a:xfrm flipH="1" flipV="1">
            <a:off x="6473721" y="1861708"/>
            <a:ext cx="0" cy="531652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93F8E2E4-7A01-4D8E-A3F7-5FA287A5F1BE}"/>
              </a:ext>
            </a:extLst>
          </p:cNvPr>
          <p:cNvSpPr/>
          <p:nvPr/>
        </p:nvSpPr>
        <p:spPr>
          <a:xfrm rot="16200000">
            <a:off x="7906822" y="4821476"/>
            <a:ext cx="1368000" cy="100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460CAA9-CF24-41F0-A94C-EB9893201F1C}"/>
              </a:ext>
            </a:extLst>
          </p:cNvPr>
          <p:cNvSpPr/>
          <p:nvPr/>
        </p:nvSpPr>
        <p:spPr>
          <a:xfrm rot="16200000">
            <a:off x="7230560" y="2302057"/>
            <a:ext cx="1368000" cy="100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98B538A-5A12-4468-B565-C09F06C8745D}"/>
              </a:ext>
            </a:extLst>
          </p:cNvPr>
          <p:cNvSpPr/>
          <p:nvPr/>
        </p:nvSpPr>
        <p:spPr>
          <a:xfrm>
            <a:off x="8782987" y="2122057"/>
            <a:ext cx="1686188" cy="832978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Carte MCU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71A1535B-FC79-40DD-A5C0-B855F22ED403}"/>
              </a:ext>
            </a:extLst>
          </p:cNvPr>
          <p:cNvCxnSpPr>
            <a:cxnSpLocks/>
          </p:cNvCxnSpPr>
          <p:nvPr/>
        </p:nvCxnSpPr>
        <p:spPr>
          <a:xfrm flipH="1" flipV="1">
            <a:off x="7226888" y="4317022"/>
            <a:ext cx="0" cy="531652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96EB5D82-3C2A-4496-98E3-02F68148C706}"/>
              </a:ext>
            </a:extLst>
          </p:cNvPr>
          <p:cNvCxnSpPr>
            <a:cxnSpLocks/>
          </p:cNvCxnSpPr>
          <p:nvPr/>
        </p:nvCxnSpPr>
        <p:spPr>
          <a:xfrm flipH="1" flipV="1">
            <a:off x="7084275" y="4469403"/>
            <a:ext cx="0" cy="531652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197028B-E136-402B-9263-8AC88C9B5A1A}"/>
              </a:ext>
            </a:extLst>
          </p:cNvPr>
          <p:cNvSpPr/>
          <p:nvPr/>
        </p:nvSpPr>
        <p:spPr>
          <a:xfrm>
            <a:off x="5899518" y="2122057"/>
            <a:ext cx="1137990" cy="1008000"/>
          </a:xfrm>
          <a:prstGeom prst="rect">
            <a:avLst/>
          </a:prstGeom>
          <a:solidFill>
            <a:srgbClr val="006EAA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CD</a:t>
            </a:r>
          </a:p>
          <a:p>
            <a:pPr algn="ctr"/>
            <a:r>
              <a:rPr lang="fr-FR" sz="1400" b="1" dirty="0" err="1">
                <a:solidFill>
                  <a:schemeClr val="bg1"/>
                </a:solidFill>
              </a:rPr>
              <a:t>Controleur</a:t>
            </a:r>
            <a:endParaRPr lang="fr-FR" sz="1400" b="1" dirty="0">
              <a:solidFill>
                <a:schemeClr val="bg1"/>
              </a:solidFill>
            </a:endParaRPr>
          </a:p>
        </p:txBody>
      </p: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5BF7B9F8-6009-419B-BF89-3AF299D13B95}"/>
              </a:ext>
            </a:extLst>
          </p:cNvPr>
          <p:cNvGrpSpPr/>
          <p:nvPr/>
        </p:nvGrpSpPr>
        <p:grpSpPr>
          <a:xfrm>
            <a:off x="6047566" y="4641475"/>
            <a:ext cx="1789053" cy="1059776"/>
            <a:chOff x="551475" y="4650220"/>
            <a:chExt cx="1789053" cy="1059776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901504E-30AC-4880-B5B4-ADB2558C4305}"/>
                </a:ext>
              </a:extLst>
            </p:cNvPr>
            <p:cNvSpPr/>
            <p:nvPr/>
          </p:nvSpPr>
          <p:spPr>
            <a:xfrm>
              <a:off x="551475" y="4650220"/>
              <a:ext cx="1789053" cy="1059776"/>
            </a:xfrm>
            <a:prstGeom prst="rect">
              <a:avLst/>
            </a:prstGeom>
            <a:solidFill>
              <a:srgbClr val="006EAA"/>
            </a:solidFill>
            <a:ln>
              <a:solidFill>
                <a:srgbClr val="0050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FFAFB95-6FC4-4AFA-9CF4-26FD09BEE662}"/>
                </a:ext>
              </a:extLst>
            </p:cNvPr>
            <p:cNvSpPr/>
            <p:nvPr/>
          </p:nvSpPr>
          <p:spPr>
            <a:xfrm>
              <a:off x="618313" y="4716456"/>
              <a:ext cx="1651434" cy="927304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b="1" dirty="0">
                  <a:solidFill>
                    <a:schemeClr val="bg1"/>
                  </a:solidFill>
                </a:rPr>
                <a:t>ECRAN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DA0189D1-B1C5-438D-A041-2A6032DF36F4}"/>
              </a:ext>
            </a:extLst>
          </p:cNvPr>
          <p:cNvGrpSpPr/>
          <p:nvPr/>
        </p:nvGrpSpPr>
        <p:grpSpPr>
          <a:xfrm>
            <a:off x="1588249" y="1583798"/>
            <a:ext cx="1686188" cy="832978"/>
            <a:chOff x="8673168" y="4454894"/>
            <a:chExt cx="1686188" cy="832978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73F4541F-88BE-4C4F-B0A6-C62530F1DA55}"/>
                </a:ext>
              </a:extLst>
            </p:cNvPr>
            <p:cNvSpPr/>
            <p:nvPr/>
          </p:nvSpPr>
          <p:spPr>
            <a:xfrm>
              <a:off x="8673168" y="4454894"/>
              <a:ext cx="1686188" cy="832978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tx1"/>
                  </a:solidFill>
                </a:rPr>
                <a:t>Protection</a:t>
              </a:r>
            </a:p>
            <a:p>
              <a:pPr algn="ctr"/>
              <a:endParaRPr lang="fr-FR" sz="1400" b="1" dirty="0">
                <a:solidFill>
                  <a:schemeClr val="tx1"/>
                </a:solidFill>
              </a:endParaRPr>
            </a:p>
          </p:txBody>
        </p:sp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67167677-B76A-4961-949A-D9BC2AC0B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1658" y="4862022"/>
              <a:ext cx="676885" cy="380748"/>
            </a:xfrm>
            <a:prstGeom prst="rect">
              <a:avLst/>
            </a:prstGeom>
          </p:spPr>
        </p:pic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372824DC-85BB-497B-81AF-94B86B418E3E}"/>
              </a:ext>
            </a:extLst>
          </p:cNvPr>
          <p:cNvSpPr/>
          <p:nvPr/>
        </p:nvSpPr>
        <p:spPr>
          <a:xfrm>
            <a:off x="1458987" y="1488046"/>
            <a:ext cx="4220509" cy="3708000"/>
          </a:xfrm>
          <a:prstGeom prst="rect">
            <a:avLst/>
          </a:prstGeom>
          <a:noFill/>
          <a:ln w="57150"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5440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3DEB53B-DFB3-4F53-9A6B-D2DEA6160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23DEB53B-DFB3-4F53-9A6B-D2DEA6160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226965C-8939-41A9-AF6E-53E13FEA2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D70A0F6-3125-420A-8579-27DE9CC89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limentatio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371BF66-81A5-44A1-9CD1-559F7AB0B442}"/>
              </a:ext>
            </a:extLst>
          </p:cNvPr>
          <p:cNvSpPr txBox="1"/>
          <p:nvPr/>
        </p:nvSpPr>
        <p:spPr>
          <a:xfrm>
            <a:off x="9760259" y="6550223"/>
            <a:ext cx="1433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Pas à l’échelle !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A441C9-3CE9-4A0C-AEE9-F4B5511CE012}"/>
              </a:ext>
            </a:extLst>
          </p:cNvPr>
          <p:cNvSpPr/>
          <p:nvPr/>
        </p:nvSpPr>
        <p:spPr>
          <a:xfrm>
            <a:off x="2249778" y="2060473"/>
            <a:ext cx="7058249" cy="4537446"/>
          </a:xfrm>
          <a:prstGeom prst="rect">
            <a:avLst/>
          </a:prstGeom>
          <a:solidFill>
            <a:schemeClr val="accent3">
              <a:alpha val="38000"/>
            </a:schemeClr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FBFEE2-D1E8-43BC-B303-D41F10C97E68}"/>
              </a:ext>
            </a:extLst>
          </p:cNvPr>
          <p:cNvSpPr/>
          <p:nvPr/>
        </p:nvSpPr>
        <p:spPr>
          <a:xfrm>
            <a:off x="1204199" y="2312553"/>
            <a:ext cx="142996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+12 VD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F3C3D7-9ABE-4177-97D3-57A922AA680B}"/>
              </a:ext>
            </a:extLst>
          </p:cNvPr>
          <p:cNvSpPr/>
          <p:nvPr/>
        </p:nvSpPr>
        <p:spPr>
          <a:xfrm>
            <a:off x="2062296" y="2950473"/>
            <a:ext cx="335335" cy="693437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700" dirty="0">
                <a:solidFill>
                  <a:schemeClr val="bg1"/>
                </a:solidFill>
              </a:rPr>
              <a:t>ON/ O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D147D9-CF94-42F1-A6FD-B2C9001A1572}"/>
              </a:ext>
            </a:extLst>
          </p:cNvPr>
          <p:cNvSpPr/>
          <p:nvPr/>
        </p:nvSpPr>
        <p:spPr>
          <a:xfrm>
            <a:off x="1797546" y="3297192"/>
            <a:ext cx="335335" cy="213428"/>
          </a:xfrm>
          <a:prstGeom prst="rect">
            <a:avLst/>
          </a:prstGeom>
          <a:solidFill>
            <a:srgbClr val="DC230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A03867-B9E3-4508-8969-624ADCBE14E4}"/>
              </a:ext>
            </a:extLst>
          </p:cNvPr>
          <p:cNvSpPr/>
          <p:nvPr/>
        </p:nvSpPr>
        <p:spPr>
          <a:xfrm rot="16200000">
            <a:off x="1803489" y="4237918"/>
            <a:ext cx="795581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US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D6B12-E847-493F-8E6E-9546A30A80AC}"/>
              </a:ext>
            </a:extLst>
          </p:cNvPr>
          <p:cNvSpPr/>
          <p:nvPr/>
        </p:nvSpPr>
        <p:spPr>
          <a:xfrm rot="16200000">
            <a:off x="1699799" y="5647785"/>
            <a:ext cx="795581" cy="600086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fr-FR" sz="1400" dirty="0">
                <a:solidFill>
                  <a:schemeClr val="bg1"/>
                </a:solidFill>
              </a:rPr>
              <a:t>DB9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9F9E0D-660B-4F9E-A53E-23347593B9E5}"/>
              </a:ext>
            </a:extLst>
          </p:cNvPr>
          <p:cNvSpPr/>
          <p:nvPr/>
        </p:nvSpPr>
        <p:spPr>
          <a:xfrm rot="16200000">
            <a:off x="7404731" y="2718801"/>
            <a:ext cx="1440000" cy="82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30" name="Flèche : droite 29">
            <a:extLst>
              <a:ext uri="{FF2B5EF4-FFF2-40B4-BE49-F238E27FC236}">
                <a16:creationId xmlns:a16="http://schemas.microsoft.com/office/drawing/2014/main" id="{9CA314A0-F5E2-4784-940F-D4ADD4A150AA}"/>
              </a:ext>
            </a:extLst>
          </p:cNvPr>
          <p:cNvSpPr/>
          <p:nvPr/>
        </p:nvSpPr>
        <p:spPr>
          <a:xfrm>
            <a:off x="6438357" y="2788393"/>
            <a:ext cx="1272374" cy="415187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9600F5-4F3C-40C7-8C44-E9B7BD090C81}"/>
              </a:ext>
            </a:extLst>
          </p:cNvPr>
          <p:cNvSpPr/>
          <p:nvPr/>
        </p:nvSpPr>
        <p:spPr>
          <a:xfrm rot="5400000">
            <a:off x="8809702" y="2508904"/>
            <a:ext cx="99664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829BAD-AE2B-452E-9850-6108E068FDCD}"/>
              </a:ext>
            </a:extLst>
          </p:cNvPr>
          <p:cNvSpPr/>
          <p:nvPr/>
        </p:nvSpPr>
        <p:spPr>
          <a:xfrm rot="5400000">
            <a:off x="8906494" y="3554762"/>
            <a:ext cx="803066" cy="39270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EC9FF6-5C03-461E-A623-0A30C6B97C48}"/>
              </a:ext>
            </a:extLst>
          </p:cNvPr>
          <p:cNvSpPr/>
          <p:nvPr/>
        </p:nvSpPr>
        <p:spPr>
          <a:xfrm rot="16200000">
            <a:off x="7405523" y="5011754"/>
            <a:ext cx="1440000" cy="82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1179B7D-9EC4-4017-BBDA-83FEE27DE9D8}"/>
              </a:ext>
            </a:extLst>
          </p:cNvPr>
          <p:cNvSpPr/>
          <p:nvPr/>
        </p:nvSpPr>
        <p:spPr>
          <a:xfrm rot="5400000">
            <a:off x="8813780" y="4692207"/>
            <a:ext cx="99664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253F55-9A3F-43D7-8F62-9EDABC9897C4}"/>
              </a:ext>
            </a:extLst>
          </p:cNvPr>
          <p:cNvSpPr/>
          <p:nvPr/>
        </p:nvSpPr>
        <p:spPr>
          <a:xfrm rot="5400000">
            <a:off x="8910572" y="5738065"/>
            <a:ext cx="803066" cy="39270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12" name="Flèche : angle droit 11">
            <a:extLst>
              <a:ext uri="{FF2B5EF4-FFF2-40B4-BE49-F238E27FC236}">
                <a16:creationId xmlns:a16="http://schemas.microsoft.com/office/drawing/2014/main" id="{4B52B259-EF70-4125-8614-578481762851}"/>
              </a:ext>
            </a:extLst>
          </p:cNvPr>
          <p:cNvSpPr/>
          <p:nvPr/>
        </p:nvSpPr>
        <p:spPr>
          <a:xfrm rot="5400000">
            <a:off x="6081359" y="3876414"/>
            <a:ext cx="1726021" cy="1532721"/>
          </a:xfrm>
          <a:prstGeom prst="bentUpArrow">
            <a:avLst>
              <a:gd name="adj1" fmla="val 17808"/>
              <a:gd name="adj2" fmla="val 16263"/>
              <a:gd name="adj3" fmla="val 19175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grpSp>
        <p:nvGrpSpPr>
          <p:cNvPr id="50" name="Groupe 49">
            <a:extLst>
              <a:ext uri="{FF2B5EF4-FFF2-40B4-BE49-F238E27FC236}">
                <a16:creationId xmlns:a16="http://schemas.microsoft.com/office/drawing/2014/main" id="{49034100-ED2F-406D-891A-62FE25D794B2}"/>
              </a:ext>
            </a:extLst>
          </p:cNvPr>
          <p:cNvGrpSpPr/>
          <p:nvPr/>
        </p:nvGrpSpPr>
        <p:grpSpPr>
          <a:xfrm>
            <a:off x="9644269" y="1078348"/>
            <a:ext cx="1789053" cy="1059776"/>
            <a:chOff x="551475" y="4650220"/>
            <a:chExt cx="1789053" cy="1059776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EBD52EF-441C-4FB7-885F-D2B7435D5015}"/>
                </a:ext>
              </a:extLst>
            </p:cNvPr>
            <p:cNvSpPr/>
            <p:nvPr/>
          </p:nvSpPr>
          <p:spPr>
            <a:xfrm>
              <a:off x="551475" y="4650220"/>
              <a:ext cx="1789053" cy="1059776"/>
            </a:xfrm>
            <a:prstGeom prst="rect">
              <a:avLst/>
            </a:prstGeom>
            <a:solidFill>
              <a:srgbClr val="006EAA"/>
            </a:solidFill>
            <a:ln>
              <a:solidFill>
                <a:srgbClr val="0050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9E6B687-6862-477B-B8A5-11A30CBC198A}"/>
                </a:ext>
              </a:extLst>
            </p:cNvPr>
            <p:cNvSpPr/>
            <p:nvPr/>
          </p:nvSpPr>
          <p:spPr>
            <a:xfrm>
              <a:off x="618313" y="4716456"/>
              <a:ext cx="1651434" cy="927304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b="1" dirty="0">
                  <a:solidFill>
                    <a:schemeClr val="bg1"/>
                  </a:solidFill>
                </a:rPr>
                <a:t>ECRAN</a:t>
              </a:r>
            </a:p>
          </p:txBody>
        </p:sp>
      </p:grpSp>
      <p:sp>
        <p:nvSpPr>
          <p:cNvPr id="53" name="Flèche : angle droit 52">
            <a:extLst>
              <a:ext uri="{FF2B5EF4-FFF2-40B4-BE49-F238E27FC236}">
                <a16:creationId xmlns:a16="http://schemas.microsoft.com/office/drawing/2014/main" id="{073FFE4E-6E48-47CB-8152-88ECF1D33EAF}"/>
              </a:ext>
            </a:extLst>
          </p:cNvPr>
          <p:cNvSpPr/>
          <p:nvPr/>
        </p:nvSpPr>
        <p:spPr>
          <a:xfrm rot="5400000" flipH="1">
            <a:off x="7170503" y="-60965"/>
            <a:ext cx="1334452" cy="3613079"/>
          </a:xfrm>
          <a:prstGeom prst="bentUpArrow">
            <a:avLst>
              <a:gd name="adj1" fmla="val 17808"/>
              <a:gd name="adj2" fmla="val 16263"/>
              <a:gd name="adj3" fmla="val 19175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56" name="Flèche : angle droit 55">
            <a:extLst>
              <a:ext uri="{FF2B5EF4-FFF2-40B4-BE49-F238E27FC236}">
                <a16:creationId xmlns:a16="http://schemas.microsoft.com/office/drawing/2014/main" id="{D4EB09C5-A142-4C39-8246-BAB04574C147}"/>
              </a:ext>
            </a:extLst>
          </p:cNvPr>
          <p:cNvSpPr/>
          <p:nvPr/>
        </p:nvSpPr>
        <p:spPr>
          <a:xfrm rot="10800000">
            <a:off x="3789798" y="2305018"/>
            <a:ext cx="1429971" cy="552481"/>
          </a:xfrm>
          <a:prstGeom prst="bentUpArrow">
            <a:avLst>
              <a:gd name="adj1" fmla="val 35595"/>
              <a:gd name="adj2" fmla="val 26773"/>
              <a:gd name="adj3" fmla="val 32111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ECA5731-BDA7-41C8-A8CF-8F16739A6C07}"/>
              </a:ext>
            </a:extLst>
          </p:cNvPr>
          <p:cNvSpPr/>
          <p:nvPr/>
        </p:nvSpPr>
        <p:spPr>
          <a:xfrm>
            <a:off x="3954864" y="2255107"/>
            <a:ext cx="10679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43E1FB7-E85E-4472-943A-35E83E122C4B}"/>
              </a:ext>
            </a:extLst>
          </p:cNvPr>
          <p:cNvSpPr/>
          <p:nvPr/>
        </p:nvSpPr>
        <p:spPr>
          <a:xfrm>
            <a:off x="3100635" y="2859405"/>
            <a:ext cx="1507369" cy="891708"/>
          </a:xfrm>
          <a:prstGeom prst="rect">
            <a:avLst/>
          </a:prstGeom>
          <a:solidFill>
            <a:srgbClr val="006EAA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CD</a:t>
            </a:r>
          </a:p>
          <a:p>
            <a:pPr algn="ctr"/>
            <a:r>
              <a:rPr lang="fr-FR" sz="1400" b="1" dirty="0" err="1">
                <a:solidFill>
                  <a:schemeClr val="bg1"/>
                </a:solidFill>
              </a:rPr>
              <a:t>Controleur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57" name="Flèche : droite 56">
            <a:extLst>
              <a:ext uri="{FF2B5EF4-FFF2-40B4-BE49-F238E27FC236}">
                <a16:creationId xmlns:a16="http://schemas.microsoft.com/office/drawing/2014/main" id="{8804D92C-3741-477D-9E79-B6BB639D780C}"/>
              </a:ext>
            </a:extLst>
          </p:cNvPr>
          <p:cNvSpPr/>
          <p:nvPr/>
        </p:nvSpPr>
        <p:spPr>
          <a:xfrm rot="5400000">
            <a:off x="4946095" y="4110615"/>
            <a:ext cx="1212439" cy="415187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DA046C-9E65-4FFE-8C1B-B15F12DBC2A2}"/>
              </a:ext>
            </a:extLst>
          </p:cNvPr>
          <p:cNvSpPr/>
          <p:nvPr/>
        </p:nvSpPr>
        <p:spPr>
          <a:xfrm>
            <a:off x="3854320" y="4924428"/>
            <a:ext cx="2123260" cy="1363719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Carte MCU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2ACFD5-4AA4-4E30-9843-75BB197A562B}"/>
              </a:ext>
            </a:extLst>
          </p:cNvPr>
          <p:cNvSpPr/>
          <p:nvPr/>
        </p:nvSpPr>
        <p:spPr>
          <a:xfrm>
            <a:off x="5098461" y="2305019"/>
            <a:ext cx="1360882" cy="1493915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Alim</a:t>
            </a:r>
          </a:p>
        </p:txBody>
      </p:sp>
    </p:spTree>
    <p:extLst>
      <p:ext uri="{BB962C8B-B14F-4D97-AF65-F5344CB8AC3E}">
        <p14:creationId xmlns:p14="http://schemas.microsoft.com/office/powerpoint/2010/main" val="10267321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17211146-3E13-4C71-853F-657A6DDC9F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Next </a:t>
            </a:r>
            <a:r>
              <a:rPr lang="fr-FR" dirty="0" err="1"/>
              <a:t>steps</a:t>
            </a:r>
            <a:r>
              <a:rPr lang="fr-FR" dirty="0"/>
              <a:t>:</a:t>
            </a:r>
          </a:p>
          <a:p>
            <a:pPr lvl="1"/>
            <a:r>
              <a:rPr lang="fr-FR" dirty="0"/>
              <a:t>Réalisation d’un PCB avec des « modules » pour validation</a:t>
            </a:r>
          </a:p>
          <a:p>
            <a:pPr lvl="1"/>
            <a:r>
              <a:rPr lang="fr-FR" dirty="0"/>
              <a:t>Définir le </a:t>
            </a:r>
            <a:r>
              <a:rPr lang="fr-FR" dirty="0" err="1"/>
              <a:t>pinout</a:t>
            </a:r>
            <a:r>
              <a:rPr lang="fr-FR" dirty="0"/>
              <a:t> avec l’équipe SW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23EE853-643B-410F-AA02-D469BB3F69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02BF955-7B61-4F05-B8CB-E835B0477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51658527-C423-477B-8F33-286A519B14D0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94987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FF0776A4-E9BB-4CE8-AE0D-6B47C506FC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7007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Diapositive think-cell" r:id="rId59" imgW="281" imgH="281" progId="TCLayout.ActiveDocument.1">
                  <p:embed/>
                </p:oleObj>
              </mc:Choice>
              <mc:Fallback>
                <p:oleObj name="Diapositive think-cell" r:id="rId59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9A1B359F-90D1-4F5C-A731-5CCDF5607E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1400" dirty="0" err="1">
              <a:solidFill>
                <a:schemeClr val="tx1"/>
              </a:solidFill>
              <a:latin typeface="Vitesco" panose="020B0504020202020204" pitchFamily="34" charset="0"/>
              <a:sym typeface="Vitesco" panose="020B0504020202020204" pitchFamily="34" charset="0"/>
            </a:endParaRP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61960D3A-8047-473B-9616-A2974B6906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2641100-5313-4D7D-BD80-0BE90843C5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DD22FDFE-4775-4A2B-ABCD-3C5BB79F91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429000" y="1592263"/>
            <a:ext cx="4708525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9C4876-E42C-4DA0-8ED0-4194F2C7051A}" type="datetime'''''''''''''''''2''''''''''''''''''''''''''''''''''0''2''0'''">
              <a:rPr lang="fr-FR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fr-FR" sz="1400" b="1" dirty="0">
              <a:sym typeface="+mn-lt"/>
            </a:endParaRP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9229E219-16EC-48EB-A448-CF2ECFB10BB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137525" y="1592263"/>
            <a:ext cx="23939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D51136-4CF0-417D-A7EC-3C4D9A8A3945}" type="datetime'''''2''''0''''''''''''''''''''''''''''''''''''2''''1'''''''''">
              <a:rPr lang="fr-FR" altLang="en-US" sz="1400" b="1" smtClean="0"/>
              <a:pPr/>
              <a:t>2021</a:t>
            </a:fld>
            <a:endParaRPr lang="fr-FR" sz="1400" b="1" dirty="0">
              <a:sym typeface="+mn-lt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429001" y="1852613"/>
            <a:ext cx="23161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D2F12E-570E-49DF-B601-84AA92F6BFE8}" type="datetime'''''N''''''''''''''''''''o''''''''''''v''''''''''''''''''.'''">
              <a:rPr lang="fr-FR" altLang="en-US" sz="14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.</a:t>
            </a:fld>
            <a:endParaRPr lang="fr-FR" sz="1400" b="1" dirty="0">
              <a:sym typeface="+mn-lt"/>
            </a:endParaRP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4458FDE4-1383-4E8D-A656-3C5687C0734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745163" y="1852613"/>
            <a:ext cx="239236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800D71-D3B5-47B1-8078-5F331BE4C4E6}" type="datetime'''''''''''''D''''''''''''é''''''c''''''.'''''''''''''''">
              <a:rPr lang="fr-FR" altLang="en-US" sz="1400" b="1" smtClean="0"/>
              <a:pPr/>
              <a:t>Déc.</a:t>
            </a:fld>
            <a:endParaRPr lang="fr-FR" sz="1400" b="1" dirty="0">
              <a:sym typeface="+mn-lt"/>
            </a:endParaRP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2A0DB861-F9E4-433A-9510-A7F15A67B81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137525" y="1852613"/>
            <a:ext cx="23939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AFB379-9D96-47B3-8ECA-B0D2DC9448C6}" type="datetime'J''''a''''''''''''''''''''''n''''''''''''v.'">
              <a:rPr lang="fr-FR" altLang="en-US" sz="1400" b="1" smtClean="0"/>
              <a:pPr/>
              <a:t>Janv.</a:t>
            </a:fld>
            <a:endParaRPr lang="fr-FR" sz="1400" b="1" dirty="0">
              <a:sym typeface="+mn-lt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429000" y="2112963"/>
            <a:ext cx="7778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fr-FR" sz="1400" b="1" dirty="0">
              <a:sym typeface="+mn-lt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ACEC29BC-D53A-4FB8-A18A-AC6B084BCB1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506788" y="2112963"/>
            <a:ext cx="5397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C16B59-6B93-486F-A94F-3424D4D112BA}" type="datetime'''''''''''4''''''''''''''''''5'''''''''">
              <a:rPr lang="fr-FR" altLang="en-US" sz="1400" b="1" smtClean="0"/>
              <a:pPr/>
              <a:t>45</a:t>
            </a:fld>
            <a:endParaRPr lang="fr-FR" sz="1400" b="1" dirty="0">
              <a:sym typeface="+mn-lt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1F299A17-CDB9-42D1-B491-E6369BF35AE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046538" y="2112963"/>
            <a:ext cx="5397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D726EC-0521-49AC-8B42-23301460F497}" type="datetime'''4''''''''''''''6'''''''''''''''''''''''">
              <a:rPr lang="fr-FR" altLang="en-US" sz="1400" b="1" smtClean="0"/>
              <a:pPr/>
              <a:t>46</a:t>
            </a:fld>
            <a:endParaRPr lang="fr-FR" sz="1400" b="1" dirty="0">
              <a:sym typeface="+mn-lt"/>
            </a:endParaRP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AFD58BCA-FBEB-47F3-B478-F75482E7F93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86288" y="2112963"/>
            <a:ext cx="5413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D5EEF9-49F5-481E-8F25-54A30E747C64}" type="datetime'''''''''''''''''''4''''''''''''''''''7'''''''''''''''''">
              <a:rPr lang="fr-FR" altLang="en-US" sz="1400" b="1" smtClean="0"/>
              <a:pPr/>
              <a:t>47</a:t>
            </a:fld>
            <a:endParaRPr lang="fr-FR" sz="1400" b="1" dirty="0">
              <a:sym typeface="+mn-lt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37C1EFEF-5ABE-4DA2-880E-DEB438C1DA2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127625" y="2112963"/>
            <a:ext cx="5397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EA7CBD-785E-4434-86C5-60F375579C97}" type="datetime'''''''4''''''8'''''''''''''''''''''''''''''''''''''''''">
              <a:rPr lang="fr-FR" altLang="en-US" sz="1400" b="1" smtClean="0"/>
              <a:pPr/>
              <a:t>48</a:t>
            </a:fld>
            <a:endParaRPr lang="fr-FR" sz="1400" b="1" dirty="0">
              <a:sym typeface="+mn-lt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F2F5DE09-8C5C-469D-8E56-5728CD972AE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667375" y="2112963"/>
            <a:ext cx="5413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99225D-ACFB-4BE3-A4C9-6F1CE45E86C5}" type="datetime'''''''''''''''''4''''''''''''''''''''''''9'''">
              <a:rPr lang="fr-FR" altLang="en-US" sz="1400" b="1" smtClean="0"/>
              <a:pPr/>
              <a:t>49</a:t>
            </a:fld>
            <a:endParaRPr lang="fr-FR" sz="1400" b="1" dirty="0">
              <a:sym typeface="+mn-lt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79B6BC1B-A122-4868-AE6D-2FCAB707887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208713" y="2112963"/>
            <a:ext cx="5397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15F33E-8518-4811-BBEC-8481D351678D}" type="datetime'''5''''''''''''''0'''''''''''''''''''''''''''''">
              <a:rPr lang="fr-FR" altLang="en-US" sz="1400" b="1" smtClean="0"/>
              <a:pPr/>
              <a:t>50</a:t>
            </a:fld>
            <a:endParaRPr lang="fr-FR" sz="1400" b="1" dirty="0">
              <a:sym typeface="+mn-lt"/>
            </a:endParaRP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F0687C91-5D16-4ED6-B779-BDB80044DD8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748463" y="2112963"/>
            <a:ext cx="5413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E4F7CA-CF40-4BC3-B41E-E6593F21CAD9}" type="datetime'''''''''''''''''''''''''''''''5''''''''''''''''''''''''''1'">
              <a:rPr lang="fr-FR" altLang="en-US" sz="1400" b="1" smtClean="0"/>
              <a:pPr/>
              <a:t>51</a:t>
            </a:fld>
            <a:endParaRPr lang="fr-FR" sz="1400" b="1" dirty="0">
              <a:sym typeface="+mn-lt"/>
            </a:endParaRP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D76D1C2C-CE9B-4E22-9F4D-F7D2272E6B1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289800" y="2112963"/>
            <a:ext cx="5397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F1F0CB-53DE-4E50-945C-A8F4CE5A5EBE}" type="datetime'5''''''''''''''''''''''''''''''''2'''''''''''''''''''">
              <a:rPr lang="fr-FR" altLang="en-US" sz="1400" b="1" smtClean="0"/>
              <a:pPr/>
              <a:t>52</a:t>
            </a:fld>
            <a:endParaRPr lang="fr-FR" sz="1400" b="1" dirty="0">
              <a:sym typeface="+mn-lt"/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60EB943E-4F36-415E-A646-871EF57F19C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829550" y="2112963"/>
            <a:ext cx="5397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5B8165-5DD0-4379-A69B-01CE69A9AC6C}" type="datetime'5''''''3'''''''''''''''''''''''''''''''">
              <a:rPr lang="fr-FR" altLang="en-US" sz="1400" b="1" smtClean="0"/>
              <a:pPr/>
              <a:t>53</a:t>
            </a:fld>
            <a:endParaRPr lang="fr-FR" sz="1400" b="1" dirty="0">
              <a:sym typeface="+mn-lt"/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334A9343-B181-4918-B023-217E3F4C34F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369300" y="2112963"/>
            <a:ext cx="5413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F52516-AC75-4717-A069-98C6DA08AB97}" type="datetime'''''''01'''''''''''">
              <a:rPr lang="fr-FR" altLang="en-US" sz="1400" b="1" smtClean="0"/>
              <a:pPr/>
              <a:t>01</a:t>
            </a:fld>
            <a:endParaRPr lang="fr-FR" sz="1400" b="1" dirty="0">
              <a:sym typeface="+mn-lt"/>
            </a:endParaRP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5D6312F0-A1DE-43E6-B3C8-0A2A2C9CDF7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910638" y="2112963"/>
            <a:ext cx="5397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F0423A-BD09-4430-9CCA-420ECC14A2E2}" type="datetime'0''''2'''''''''''''''">
              <a:rPr lang="fr-FR" altLang="en-US" sz="1400" b="1" smtClean="0"/>
              <a:pPr/>
              <a:t>02</a:t>
            </a:fld>
            <a:endParaRPr lang="fr-FR" sz="1400" b="1" dirty="0">
              <a:sym typeface="+mn-lt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4685899D-B1F2-4469-9FC5-5487241B444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450388" y="2112963"/>
            <a:ext cx="541338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E289BE-8640-4FE5-A81D-1148F6F1284E}" type="datetime'''''''''''''''''''''''0''''''''3'''''''''''''''''''''''''">
              <a:rPr lang="fr-FR" altLang="en-US" sz="1400" b="1" smtClean="0"/>
              <a:pPr/>
              <a:t>03</a:t>
            </a:fld>
            <a:endParaRPr lang="fr-FR" sz="1400" b="1" dirty="0">
              <a:sym typeface="+mn-lt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E9B4324-9900-4150-80B1-3E4D1A9EDD5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991725" y="2112963"/>
            <a:ext cx="539750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1D592C-5D41-4F57-B266-813ED25EE326}" type="datetime'''''''''''''''0''''''''''''4'''''''''''''''''''''''''">
              <a:rPr lang="fr-FR" altLang="en-US" sz="1400" b="1" smtClean="0"/>
              <a:pPr/>
              <a:t>04</a:t>
            </a:fld>
            <a:endParaRPr lang="fr-FR" sz="1400" b="1" dirty="0">
              <a:sym typeface="+mn-lt"/>
            </a:endParaRPr>
          </a:p>
        </p:txBody>
      </p:sp>
      <p:cxnSp>
        <p:nvCxnSpPr>
          <p:cNvPr id="70" name="Connecteur droit 69">
            <a:extLst>
              <a:ext uri="{FF2B5EF4-FFF2-40B4-BE49-F238E27FC236}">
                <a16:creationId xmlns:a16="http://schemas.microsoft.com/office/drawing/2014/main" id="{25D63DDC-B907-41D5-8A9A-905391C64F4E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0531475" y="2373313"/>
            <a:ext cx="0" cy="304958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eur droit 70">
            <a:extLst>
              <a:ext uri="{FF2B5EF4-FFF2-40B4-BE49-F238E27FC236}">
                <a16:creationId xmlns:a16="http://schemas.microsoft.com/office/drawing/2014/main" id="{A7676403-7E60-43AC-812C-B0986A382F7B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371475" y="2373313"/>
            <a:ext cx="0" cy="304958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109C6F0C-EE80-4B21-A30A-813C3160BD8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8137525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8F7EF9E8-8E57-4B6A-8132-A2FBEF7EFD8F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5745163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droit 68">
            <a:extLst>
              <a:ext uri="{FF2B5EF4-FFF2-40B4-BE49-F238E27FC236}">
                <a16:creationId xmlns:a16="http://schemas.microsoft.com/office/drawing/2014/main" id="{6BDB05C8-C2AF-4ED0-B703-677DA2AB71EE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3429000" y="2373313"/>
            <a:ext cx="0" cy="304958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DDDFA779-4278-4609-A3A8-B1BBFA71B9B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208713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61">
            <a:extLst>
              <a:ext uri="{FF2B5EF4-FFF2-40B4-BE49-F238E27FC236}">
                <a16:creationId xmlns:a16="http://schemas.microsoft.com/office/drawing/2014/main" id="{02B71905-519F-4ABC-A431-35C1A9392FCC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6748463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58">
            <a:extLst>
              <a:ext uri="{FF2B5EF4-FFF2-40B4-BE49-F238E27FC236}">
                <a16:creationId xmlns:a16="http://schemas.microsoft.com/office/drawing/2014/main" id="{9568A0A0-A592-4E38-B443-D558E796556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127625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eur droit 57">
            <a:extLst>
              <a:ext uri="{FF2B5EF4-FFF2-40B4-BE49-F238E27FC236}">
                <a16:creationId xmlns:a16="http://schemas.microsoft.com/office/drawing/2014/main" id="{830C17B4-C4FD-4569-8439-97650921E025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4586288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56">
            <a:extLst>
              <a:ext uri="{FF2B5EF4-FFF2-40B4-BE49-F238E27FC236}">
                <a16:creationId xmlns:a16="http://schemas.microsoft.com/office/drawing/2014/main" id="{E0E1AECF-E065-4D64-904A-18C274467D0A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4046538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E16AB1A1-0CCC-4F56-8D79-F16393EB5283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3506788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59">
            <a:extLst>
              <a:ext uri="{FF2B5EF4-FFF2-40B4-BE49-F238E27FC236}">
                <a16:creationId xmlns:a16="http://schemas.microsoft.com/office/drawing/2014/main" id="{32BA4140-57C6-4952-BC10-8EA113A44A01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5667375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droit 67">
            <a:extLst>
              <a:ext uri="{FF2B5EF4-FFF2-40B4-BE49-F238E27FC236}">
                <a16:creationId xmlns:a16="http://schemas.microsoft.com/office/drawing/2014/main" id="{AF6D5069-A0A9-4F67-A8C4-48DAAEBFED2D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9991725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C0E6DBE2-AF5E-41DB-B9FD-70EC844CCD72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7289800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eur droit 63">
            <a:extLst>
              <a:ext uri="{FF2B5EF4-FFF2-40B4-BE49-F238E27FC236}">
                <a16:creationId xmlns:a16="http://schemas.microsoft.com/office/drawing/2014/main" id="{D68DE1DE-3995-4E69-9C8B-CAD2C325AD9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7829550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64">
            <a:extLst>
              <a:ext uri="{FF2B5EF4-FFF2-40B4-BE49-F238E27FC236}">
                <a16:creationId xmlns:a16="http://schemas.microsoft.com/office/drawing/2014/main" id="{0A7F5027-76C3-45D4-AA3D-1F6F3E3376B3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8369300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eur droit 65">
            <a:extLst>
              <a:ext uri="{FF2B5EF4-FFF2-40B4-BE49-F238E27FC236}">
                <a16:creationId xmlns:a16="http://schemas.microsoft.com/office/drawing/2014/main" id="{C02FCBCA-45BB-4DC2-8A13-C811E0796CA1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8910638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66">
            <a:extLst>
              <a:ext uri="{FF2B5EF4-FFF2-40B4-BE49-F238E27FC236}">
                <a16:creationId xmlns:a16="http://schemas.microsoft.com/office/drawing/2014/main" id="{40A3E50A-D34A-4727-BA0A-D73C2E77E7C5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9450388" y="2373313"/>
            <a:ext cx="0" cy="304958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DA54123D-2059-4460-A11C-61D5AC75DAD7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371475" y="3257550"/>
            <a:ext cx="10160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9133FAE8-6B56-42A3-8A5C-A1219DD593AA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371475" y="4141788"/>
            <a:ext cx="10160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eur droit 72">
            <a:extLst>
              <a:ext uri="{FF2B5EF4-FFF2-40B4-BE49-F238E27FC236}">
                <a16:creationId xmlns:a16="http://schemas.microsoft.com/office/drawing/2014/main" id="{659212C8-9677-48FA-A77A-93A5DBFA88D6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371475" y="5422900"/>
            <a:ext cx="101600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1A2D658F-45AD-4A37-94B3-A8A33DC8D779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4510088" y="2373313"/>
            <a:ext cx="0" cy="321310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eur droit 71">
            <a:extLst>
              <a:ext uri="{FF2B5EF4-FFF2-40B4-BE49-F238E27FC236}">
                <a16:creationId xmlns:a16="http://schemas.microsoft.com/office/drawing/2014/main" id="{399FFA57-F0DA-4285-8621-6729DBBF1A89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371475" y="2373313"/>
            <a:ext cx="101600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75AB0FA0-A832-4FDD-A1E2-008209F3A1FA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5049838" y="2570163"/>
            <a:ext cx="541338" cy="7937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63D9753-00C3-4D81-AA9F-425C30D464E9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3968750" y="2570163"/>
            <a:ext cx="1081088" cy="79375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48" name="Triangle isocèle 47">
            <a:extLst>
              <a:ext uri="{FF2B5EF4-FFF2-40B4-BE49-F238E27FC236}">
                <a16:creationId xmlns:a16="http://schemas.microsoft.com/office/drawing/2014/main" id="{FAAFF7A6-FDEB-4440-AF55-E19E8C84BCEC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4452938" y="5529263"/>
            <a:ext cx="114300" cy="114300"/>
          </a:xfrm>
          <a:prstGeom prst="triangle">
            <a:avLst/>
          </a:prstGeom>
          <a:solidFill>
            <a:schemeClr val="tx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42914" y="2136775"/>
            <a:ext cx="6334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49B169A-96EC-4DA1-9CC5-5DCC40E6B854}" type="datetime'''''''A''''cti''v''''''''it''''é'''''''''''''''''''''''''''">
              <a:rPr lang="fr-FR" altLang="en-US" sz="1400" b="1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ctivité</a:t>
            </a:fld>
            <a:endParaRPr lang="fr-FR" sz="1400" b="1" dirty="0">
              <a:sym typeface="+mn-lt"/>
            </a:endParaRP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42913" y="4279900"/>
            <a:ext cx="1131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4BF073-B423-44FD-AF55-8154460ADEB5}" type="datetime'''''''''Ro''''''''''''''u''t''a''''''''''''g''e'''' ''MC''U'''">
              <a:rPr lang="fr-FR" altLang="en-US" sz="1400" smtClean="0"/>
              <a:pPr/>
              <a:t>Routage MCU</a:t>
            </a:fld>
            <a:endParaRPr lang="fr-FR" sz="1400" dirty="0">
              <a:sym typeface="+mn-lt"/>
            </a:endParaRP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42913" y="4676775"/>
            <a:ext cx="16954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A50C9A-7B6B-415F-9B30-C2C4DC6382FB}" type="datetime'R''o''ut''''a''g''e'' ''m''''od''u''''''le'''''' H''''''V''3'">
              <a:rPr lang="fr-FR" altLang="en-US" sz="1400" smtClean="0"/>
              <a:pPr/>
              <a:t>Routage module HV3</a:t>
            </a:fld>
            <a:endParaRPr lang="fr-FR" sz="1400" dirty="0">
              <a:sym typeface="+mn-lt"/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42913" y="3792538"/>
            <a:ext cx="28606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FEB1C7C-A165-4F3B-BD60-837541296381}" type="datetime'De''''fi''nition du p''inou''''t  MCU a''''vec'' S''''W '">
              <a:rPr lang="fr-FR" altLang="en-US" sz="1400" smtClean="0"/>
              <a:pPr/>
              <a:t>Definition du pinout  MCU avec SW </a:t>
            </a:fld>
            <a:endParaRPr lang="fr-FR" sz="1400" dirty="0">
              <a:sym typeface="+mn-lt"/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442913" y="3395663"/>
            <a:ext cx="170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B74CC6-E432-4D9C-9DCD-19CBAC2E64F2}" type="datetime'''R''''outa''g''e A''li''''men''t''a''t''''i''''''''''o''''n'">
              <a:rPr lang="fr-FR" altLang="en-US" sz="1400" smtClean="0"/>
              <a:pPr/>
              <a:t>Routage Alimentation</a:t>
            </a:fld>
            <a:endParaRPr lang="fr-FR" sz="1400" dirty="0">
              <a:sym typeface="+mn-lt"/>
            </a:endParaRPr>
          </a:p>
        </p:txBody>
      </p:sp>
      <p:sp useBgFill="1">
        <p:nvSpPr>
          <p:cNvPr id="47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057650" y="5665788"/>
            <a:ext cx="904875" cy="21272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6D3552-D4A4-445D-8545-9381AFBF3EF3}" type="datetime'''''''''''''15''''''/''1''''''''''1''/2''''''0''2''''''''0'''">
              <a:rPr lang="fr-FR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/11/2020</a:t>
            </a:fld>
            <a:endParaRPr lang="fr-FR" sz="1400" dirty="0">
              <a:sym typeface="+mn-lt"/>
            </a:endParaRPr>
          </a:p>
        </p:txBody>
      </p:sp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ABF0EE6E-954E-4EA1-9E73-5660A0013DAF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42913" y="5072063"/>
            <a:ext cx="170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908046-4E58-4D25-8FEF-B43C8125A405}" type="datetime'''''Rou''ta''ge'''''' ''''drive''''r'''' ''''''éc''ran '''''''">
              <a:rPr lang="fr-FR" altLang="en-US" sz="1400" smtClean="0"/>
              <a:pPr/>
              <a:t>Routage driver écran </a:t>
            </a:fld>
            <a:endParaRPr lang="fr-FR" sz="1400" dirty="0">
              <a:sym typeface="+mn-lt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442913" y="2511425"/>
            <a:ext cx="291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7291C39-C791-4844-97DA-AA982A481ECD}" type="datetime'D''éfin''itio''''n d''e''s choix de l’a''l''ime''ntat''ion'">
              <a:rPr lang="fr-FR" altLang="en-US" sz="1400" smtClean="0"/>
              <a:pPr/>
              <a:t>Définition des choix de l’alimentation</a:t>
            </a:fld>
            <a:endParaRPr lang="fr-FR" sz="1400" dirty="0">
              <a:sym typeface="+mn-lt"/>
            </a:endParaRP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442913" y="2906713"/>
            <a:ext cx="18526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Tx/>
              <a:buChar char="&gt;"/>
              <a:defRPr sz="1600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D64469-67C0-4A56-BA99-94C4A49B1805}" type="datetime'Si''mulati''o''n a''''l''i''m''''e''''''''''nta''tio''n'''''">
              <a:rPr lang="fr-FR" altLang="en-US" sz="1400" smtClean="0"/>
              <a:pPr/>
              <a:t>Simulation alimentation</a:t>
            </a:fld>
            <a:endParaRPr lang="fr-FR" sz="14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86524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C6OMYSOxUPK46uzeuD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XFIEmiKd1ZHsyyfhs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I_APs_JpKMxU8SPIVO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OPzknf912QE82Nu.p9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JczaVtj4oLYzMqmie2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R9sSr3AgEIrSK3Grqv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q0e7dlLQ7qT5NUUCKS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Rs8dVb75D1HeOeXCzP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WDEBLkqH6.jses0d2d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5FzDL2noFgTf.OsDp7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l9nT0vH.8bZl1Rwd7v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dWGVGN5FfzepgUqRys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dePg.g2v8jgl4ArNGFW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5EkiVF4ZQyuQ5TSX6X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K_Z2uBFOuimMXepVI_3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PGycfBMyJnSDH.xp6L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S0GbS2pAqbZAHM6vXC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BT1LOAPPKwZMCHiE2r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ZwgdcwWou7dqsqfhY7b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Jcn8Cumw86ZPdPaGW7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OMpZkK5sH9mbZXHPnx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j2v_lyz14tw875Y22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SnhNK_00Ue8V0ZPFVO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diWAOEsiqz5c0DdwIE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.NqW6oCVOnK4No0oZp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kmr6uNgJysEZWbJ_jX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Z_V5ZL7bGWwdqAh1vQ.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OtwJCGD2sGOeBtU.06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P2rUsCLeiS3O_DqDVK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TBvpEwFHy940SRrUzd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d3_QexkTTkrYudeXHs6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4JeKZDIEtPgF3R4iuP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u2em9Qtrw79juowRib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FzDYbLNWybonKcWLXp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fBK6CYH8DY1zVwNm6Jd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2rgv4PPN3rvPD_ZfRK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rzas3lcvCZOF1h2sfI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b4mhhutAB1EkkFe8bq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duzmWNiXA6dkzfm9v2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1Q52MbwvCvOVM47IZ2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J5aOuScGkvRUDyJoOO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5HRmOxbGcOfoLPZoRk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pQidS.PfTVHAggaUdt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AN1ekl9VOq0H6_zweKM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sh0f_Ocm_REhCFHKNFU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S49n4efCFF5WfypYW3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n5KIKypcdHprFNvngmW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9Qiu1jaX1dHrN8XCQi4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m4nRjM6a8EFL.7kawDc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GjnCTk1s1x4mHXcvkn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8y._ckiptjAZbxD4NLd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7wlSRyw2Xale5A339c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hldwbPm0FggXo0QxRD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hSG46B0xuaeT98g5zeJ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Agegrf3FnSrQ7pzRyh7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cNDPaF43wvgoD2vX7I_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T.tkvQ9Jr5GnSNcQZNB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l8KD8WevQ7vt0CxDfs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l8KD8WevQ7vt0CxDfsM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mUWslHghDHam1zWtBf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mUWslHghDHam1zWtBfO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5jP8ScjUmcj1X9q5JQ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lEpI5JMQam21Z5HIc2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evDulTRU1BRtwXh8nas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UMlsUjoFXt1HSlthua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tesco">
  <a:themeElements>
    <a:clrScheme name="_Vitesco neu">
      <a:dk1>
        <a:srgbClr val="4A4944"/>
      </a:dk1>
      <a:lt1>
        <a:sysClr val="window" lastClr="FFFFFF"/>
      </a:lt1>
      <a:dk2>
        <a:srgbClr val="4A4944"/>
      </a:dk2>
      <a:lt2>
        <a:srgbClr val="F2E500"/>
      </a:lt2>
      <a:accent1>
        <a:srgbClr val="D4004A"/>
      </a:accent1>
      <a:accent2>
        <a:srgbClr val="B4C832"/>
      </a:accent2>
      <a:accent3>
        <a:srgbClr val="64AF5A"/>
      </a:accent3>
      <a:accent4>
        <a:srgbClr val="3CB4A5"/>
      </a:accent4>
      <a:accent5>
        <a:srgbClr val="008269"/>
      </a:accent5>
      <a:accent6>
        <a:srgbClr val="005546"/>
      </a:accent6>
      <a:hlink>
        <a:srgbClr val="4A4944"/>
      </a:hlink>
      <a:folHlink>
        <a:srgbClr val="4A4944"/>
      </a:folHlink>
    </a:clrScheme>
    <a:fontScheme name="Benutzerdefiniert 153">
      <a:majorFont>
        <a:latin typeface="Vitesco"/>
        <a:ea typeface=""/>
        <a:cs typeface=""/>
      </a:majorFont>
      <a:minorFont>
        <a:latin typeface="Vitesc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Tertiär1">
      <a:srgbClr val="00A5E6"/>
    </a:custClr>
    <a:custClr name="Tertiär2">
      <a:srgbClr val="006EAA"/>
    </a:custClr>
    <a:custClr name="Tertiär3">
      <a:srgbClr val="005082"/>
    </a:custClr>
    <a:custClr name="Tertiär4">
      <a:srgbClr val="DC5F96"/>
    </a:custClr>
    <a:custClr name="Tertiär5">
      <a:srgbClr val="7D0F5F"/>
    </a:custClr>
    <a:custClr name="Brand Grey 100%">
      <a:srgbClr val="4A4944"/>
    </a:custClr>
    <a:custClr name="Brand Grey 70%">
      <a:srgbClr val="807F7C"/>
    </a:custClr>
    <a:custClr name="Brand Grey 50%">
      <a:srgbClr val="A4A4A1"/>
    </a:custClr>
    <a:custClr name="Brand Grey 30%">
      <a:srgbClr val="C8C8C6"/>
    </a:custClr>
    <a:custClr name="Brand Grey 15%">
      <a:srgbClr val="E4E4E3"/>
    </a:custClr>
    <a:custClr name="Ampelfarbe1">
      <a:srgbClr val="DC230F"/>
    </a:custClr>
    <a:custClr name="Ampelfarbe2">
      <a:srgbClr val="FFC300"/>
    </a:custClr>
    <a:custClr name="Ampelfarbe3">
      <a:srgbClr val="64AF59"/>
    </a:custClr>
  </a:custClrLst>
  <a:extLst>
    <a:ext uri="{05A4C25C-085E-4340-85A3-A5531E510DB2}">
      <thm15:themeFamily xmlns:thm15="http://schemas.microsoft.com/office/thememl/2012/main" name="Vitesco" id="{8CFDD018-1F62-45B6-9047-F61AA96CE09E}" vid="{CCAAE21C-71A6-42EA-8C4A-0FB1DB4EEB3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BE18627A709541810338E01DF18ED8" ma:contentTypeVersion="13" ma:contentTypeDescription="Create a new document." ma:contentTypeScope="" ma:versionID="6f87765f028ae768125b6a93918cda0e">
  <xsd:schema xmlns:xsd="http://www.w3.org/2001/XMLSchema" xmlns:xs="http://www.w3.org/2001/XMLSchema" xmlns:p="http://schemas.microsoft.com/office/2006/metadata/properties" xmlns:ns3="30990c54-d953-498a-88eb-47508cbabf51" xmlns:ns4="5459c1e5-ea4c-4ff0-83ae-5b1438974e3b" targetNamespace="http://schemas.microsoft.com/office/2006/metadata/properties" ma:root="true" ma:fieldsID="315afa8a6763a42aaca31b82e431c531" ns3:_="" ns4:_="">
    <xsd:import namespace="30990c54-d953-498a-88eb-47508cbabf51"/>
    <xsd:import namespace="5459c1e5-ea4c-4ff0-83ae-5b1438974e3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990c54-d953-498a-88eb-47508cbabf5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59c1e5-ea4c-4ff0-83ae-5b1438974e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A961832-ADCA-49B8-9B76-BC4EB530F1D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057C390-4223-456E-8077-BFF2569385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DBF593A-2C83-478A-B677-CCB682A734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990c54-d953-498a-88eb-47508cbabf51"/>
    <ds:schemaRef ds:uri="5459c1e5-ea4c-4ff0-83ae-5b1438974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718</Words>
  <Application>Microsoft Office PowerPoint</Application>
  <PresentationFormat>Grand écran</PresentationFormat>
  <Paragraphs>212</Paragraphs>
  <Slides>1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8</vt:i4>
      </vt:variant>
    </vt:vector>
  </HeadingPairs>
  <TitlesOfParts>
    <vt:vector size="22" baseType="lpstr">
      <vt:lpstr>Arial</vt:lpstr>
      <vt:lpstr>Vitesco</vt:lpstr>
      <vt:lpstr>Vitesco</vt:lpstr>
      <vt:lpstr>Diapositive think-cell</vt:lpstr>
      <vt:lpstr>Statut HW CW44</vt:lpstr>
      <vt:lpstr>Présentation PowerPoint</vt:lpstr>
      <vt:lpstr>PCB</vt:lpstr>
      <vt:lpstr>Communication</vt:lpstr>
      <vt:lpstr>Alimentation</vt:lpstr>
      <vt:lpstr>Alimentation</vt:lpstr>
      <vt:lpstr>Alimentation</vt:lpstr>
      <vt:lpstr>Présentation PowerPoint</vt:lpstr>
      <vt:lpstr>Présentation PowerPoint</vt:lpstr>
      <vt:lpstr>Connecteur HDMI</vt:lpstr>
      <vt:lpstr>Connecteur BNC</vt:lpstr>
      <vt:lpstr>Ecran tactile</vt:lpstr>
      <vt:lpstr>Ecran tactile</vt:lpstr>
      <vt:lpstr>Présentation PowerPoint</vt:lpstr>
      <vt:lpstr>Connecteur DC</vt:lpstr>
      <vt:lpstr>Interrupteur ON/OFF</vt:lpstr>
      <vt:lpstr>Module lattice tachyssema</vt:lpstr>
      <vt:lpstr>Carte MC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essaoudi, Damien (uid34375)</dc:creator>
  <cp:lastModifiedBy>Messaoudi, Damien (uid34375)</cp:lastModifiedBy>
  <cp:revision>13</cp:revision>
  <dcterms:created xsi:type="dcterms:W3CDTF">2020-11-01T10:42:20Z</dcterms:created>
  <dcterms:modified xsi:type="dcterms:W3CDTF">2020-11-04T13:2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BE18627A709541810338E01DF18ED8</vt:lpwstr>
  </property>
</Properties>
</file>